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7" r:id="rId5"/>
  </p:sldMasterIdLst>
  <p:notesMasterIdLst>
    <p:notesMasterId r:id="rId17"/>
  </p:notesMasterIdLst>
  <p:sldIdLst>
    <p:sldId id="463" r:id="rId6"/>
    <p:sldId id="455" r:id="rId7"/>
    <p:sldId id="442" r:id="rId8"/>
    <p:sldId id="466" r:id="rId9"/>
    <p:sldId id="465" r:id="rId10"/>
    <p:sldId id="468" r:id="rId11"/>
    <p:sldId id="469" r:id="rId12"/>
    <p:sldId id="467" r:id="rId13"/>
    <p:sldId id="470" r:id="rId14"/>
    <p:sldId id="471" r:id="rId15"/>
    <p:sldId id="472"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4E4"/>
    <a:srgbClr val="7F7F7F"/>
    <a:srgbClr val="727272"/>
    <a:srgbClr val="808080"/>
    <a:srgbClr val="8F8F8F"/>
    <a:srgbClr val="5E5E5E"/>
    <a:srgbClr val="000000"/>
    <a:srgbClr val="9D9D9D"/>
    <a:srgbClr val="FDFDFD"/>
    <a:srgbClr val="A878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59" autoAdjust="0"/>
    <p:restoredTop sz="92208" autoAdjust="0"/>
  </p:normalViewPr>
  <p:slideViewPr>
    <p:cSldViewPr snapToGrid="0">
      <p:cViewPr varScale="1">
        <p:scale>
          <a:sx n="88" d="100"/>
          <a:sy n="88" d="100"/>
        </p:scale>
        <p:origin x="64" y="88"/>
      </p:cViewPr>
      <p:guideLst>
        <p:guide orient="horz" pos="2160"/>
        <p:guide pos="3840"/>
      </p:guideLst>
    </p:cSldViewPr>
  </p:slideViewPr>
  <p:notesTextViewPr>
    <p:cViewPr>
      <p:scale>
        <a:sx n="125" d="100"/>
        <a:sy n="125" d="100"/>
      </p:scale>
      <p:origin x="0" y="0"/>
    </p:cViewPr>
  </p:notesTextViewPr>
  <p:sorterViewPr>
    <p:cViewPr>
      <p:scale>
        <a:sx n="33" d="100"/>
        <a:sy n="33"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s>
</file>

<file path=ppt/diagrams/_rels/data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D14B70-948A-49AE-9B9D-D762C298F18E}" type="doc">
      <dgm:prSet loTypeId="urn:microsoft.com/office/officeart/2005/8/layout/bList2" loCatId="list" qsTypeId="urn:microsoft.com/office/officeart/2005/8/quickstyle/simple1" qsCatId="simple" csTypeId="urn:microsoft.com/office/officeart/2005/8/colors/accent1_2" csCatId="accent1" phldr="1"/>
      <dgm:spPr/>
    </dgm:pt>
    <dgm:pt modelId="{B741971F-0574-44AF-BCAD-EF76CF11C495}">
      <dgm:prSet phldrT="[Text]"/>
      <dgm:spPr/>
      <dgm:t>
        <a:bodyPr/>
        <a:lstStyle/>
        <a:p>
          <a:r>
            <a:rPr lang="en-US" dirty="0"/>
            <a:t>CSA</a:t>
          </a:r>
        </a:p>
      </dgm:t>
    </dgm:pt>
    <dgm:pt modelId="{E8470A10-F886-473F-ADB4-18CF8E3ABA85}" type="parTrans" cxnId="{DE6F57A3-7BF9-416B-84CC-F7A7E7A93781}">
      <dgm:prSet/>
      <dgm:spPr/>
      <dgm:t>
        <a:bodyPr/>
        <a:lstStyle/>
        <a:p>
          <a:endParaRPr lang="en-US"/>
        </a:p>
      </dgm:t>
    </dgm:pt>
    <dgm:pt modelId="{813F9957-0435-4919-A37F-E5EC8B0B6D3E}" type="sibTrans" cxnId="{DE6F57A3-7BF9-416B-84CC-F7A7E7A93781}">
      <dgm:prSet/>
      <dgm:spPr/>
      <dgm:t>
        <a:bodyPr/>
        <a:lstStyle/>
        <a:p>
          <a:endParaRPr lang="en-US"/>
        </a:p>
      </dgm:t>
    </dgm:pt>
    <dgm:pt modelId="{32A47C45-A51C-4D6D-8485-C67F9F462138}">
      <dgm:prSet phldrT="[Text]"/>
      <dgm:spPr/>
      <dgm:t>
        <a:bodyPr/>
        <a:lstStyle/>
        <a:p>
          <a:r>
            <a:rPr lang="en-US" dirty="0"/>
            <a:t>DSA</a:t>
          </a:r>
        </a:p>
      </dgm:t>
    </dgm:pt>
    <dgm:pt modelId="{7C707766-0F59-4B3E-AEF0-68080B3CEC98}" type="parTrans" cxnId="{5BF29524-D27C-4347-A513-9E2237309101}">
      <dgm:prSet/>
      <dgm:spPr/>
      <dgm:t>
        <a:bodyPr/>
        <a:lstStyle/>
        <a:p>
          <a:endParaRPr lang="en-US"/>
        </a:p>
      </dgm:t>
    </dgm:pt>
    <dgm:pt modelId="{6A4730E3-2A4F-4B94-B02C-D972D18A31D2}" type="sibTrans" cxnId="{5BF29524-D27C-4347-A513-9E2237309101}">
      <dgm:prSet/>
      <dgm:spPr/>
      <dgm:t>
        <a:bodyPr/>
        <a:lstStyle/>
        <a:p>
          <a:endParaRPr lang="en-US"/>
        </a:p>
      </dgm:t>
    </dgm:pt>
    <dgm:pt modelId="{01B011D3-A1A4-4FD6-9300-2DDBC5368794}">
      <dgm:prSet phldrT="[Text]"/>
      <dgm:spPr/>
      <dgm:t>
        <a:bodyPr/>
        <a:lstStyle/>
        <a:p>
          <a:r>
            <a:rPr lang="en-US" dirty="0"/>
            <a:t>PSS</a:t>
          </a:r>
        </a:p>
      </dgm:t>
    </dgm:pt>
    <dgm:pt modelId="{C5A96B34-E7A7-41AC-A38E-656DA9BD230C}" type="parTrans" cxnId="{E50337F1-9ED1-4726-ADD3-B491A15C9F31}">
      <dgm:prSet/>
      <dgm:spPr/>
      <dgm:t>
        <a:bodyPr/>
        <a:lstStyle/>
        <a:p>
          <a:endParaRPr lang="en-US"/>
        </a:p>
      </dgm:t>
    </dgm:pt>
    <dgm:pt modelId="{8AA0E4AC-DC38-42C7-9023-8BDED1787596}" type="sibTrans" cxnId="{E50337F1-9ED1-4726-ADD3-B491A15C9F31}">
      <dgm:prSet/>
      <dgm:spPr/>
      <dgm:t>
        <a:bodyPr/>
        <a:lstStyle/>
        <a:p>
          <a:endParaRPr lang="en-US"/>
        </a:p>
      </dgm:t>
    </dgm:pt>
    <dgm:pt modelId="{8FE828F7-7DBC-4FFE-AE18-8CDC6CF0BA14}">
      <dgm:prSet/>
      <dgm:spPr/>
      <dgm:t>
        <a:bodyPr/>
        <a:lstStyle/>
        <a:p>
          <a:r>
            <a:rPr lang="en-US" dirty="0"/>
            <a:t>Experienced senior architects focused on building cloud-first applications that are highly-available, highly-scalable and transformative for your business</a:t>
          </a:r>
        </a:p>
      </dgm:t>
    </dgm:pt>
    <dgm:pt modelId="{EEE758DB-89D0-4F98-8642-816555E8EB0C}" type="parTrans" cxnId="{92B4E3BB-D112-406B-B1DA-8E324FCB5407}">
      <dgm:prSet/>
      <dgm:spPr/>
      <dgm:t>
        <a:bodyPr/>
        <a:lstStyle/>
        <a:p>
          <a:endParaRPr lang="en-US"/>
        </a:p>
      </dgm:t>
    </dgm:pt>
    <dgm:pt modelId="{2687DF85-8A12-49FD-9135-D47DC9186282}" type="sibTrans" cxnId="{92B4E3BB-D112-406B-B1DA-8E324FCB5407}">
      <dgm:prSet/>
      <dgm:spPr/>
      <dgm:t>
        <a:bodyPr/>
        <a:lstStyle/>
        <a:p>
          <a:endParaRPr lang="en-US"/>
        </a:p>
      </dgm:t>
    </dgm:pt>
    <dgm:pt modelId="{2196B77D-1154-4AB8-9068-D02EBAA330CC}">
      <dgm:prSet/>
      <dgm:spPr/>
      <dgm:t>
        <a:bodyPr/>
        <a:lstStyle/>
        <a:p>
          <a:r>
            <a:rPr lang="en-US" dirty="0"/>
            <a:t>Dedicated database, analytics, business intelligence, data warehouse and Big Data architects with decades of experience in Microsoft, open source and non-Microsoft data platforms</a:t>
          </a:r>
        </a:p>
      </dgm:t>
    </dgm:pt>
    <dgm:pt modelId="{C4394729-0BA1-49E1-A2E9-F8AEE0618726}" type="parTrans" cxnId="{742123E0-BEA8-4F00-84FE-877AB711EF34}">
      <dgm:prSet/>
      <dgm:spPr/>
      <dgm:t>
        <a:bodyPr/>
        <a:lstStyle/>
        <a:p>
          <a:endParaRPr lang="en-US"/>
        </a:p>
      </dgm:t>
    </dgm:pt>
    <dgm:pt modelId="{DD6064E7-4C4C-46A3-AA63-E8EDC48E34A3}" type="sibTrans" cxnId="{742123E0-BEA8-4F00-84FE-877AB711EF34}">
      <dgm:prSet/>
      <dgm:spPr/>
      <dgm:t>
        <a:bodyPr/>
        <a:lstStyle/>
        <a:p>
          <a:endParaRPr lang="en-US"/>
        </a:p>
      </dgm:t>
    </dgm:pt>
    <dgm:pt modelId="{A944DE7C-3456-4B68-85ED-1FA50A9F963D}">
      <dgm:prSet/>
      <dgm:spPr/>
      <dgm:t>
        <a:bodyPr/>
        <a:lstStyle/>
        <a:p>
          <a:r>
            <a:rPr lang="en-US" dirty="0"/>
            <a:t>Azure experts dedicated to your long-term success in building Azure cloud-first solutions that will give you a strategic business advantage with access to abundant resources throughout Microsoft and the vast Microsoft partner ecosystem</a:t>
          </a:r>
        </a:p>
      </dgm:t>
    </dgm:pt>
    <dgm:pt modelId="{C3C7A7D5-4F0B-4539-84AC-788E1926D1B1}" type="parTrans" cxnId="{91411E1C-6F0C-4A63-AACE-EA9F98221D2A}">
      <dgm:prSet/>
      <dgm:spPr/>
      <dgm:t>
        <a:bodyPr/>
        <a:lstStyle/>
        <a:p>
          <a:endParaRPr lang="en-US"/>
        </a:p>
      </dgm:t>
    </dgm:pt>
    <dgm:pt modelId="{2DE02A20-5694-4FA9-8CC6-C6CD01883C52}" type="sibTrans" cxnId="{91411E1C-6F0C-4A63-AACE-EA9F98221D2A}">
      <dgm:prSet/>
      <dgm:spPr/>
      <dgm:t>
        <a:bodyPr/>
        <a:lstStyle/>
        <a:p>
          <a:endParaRPr lang="en-US"/>
        </a:p>
      </dgm:t>
    </dgm:pt>
    <dgm:pt modelId="{1B420DB6-A0DA-4831-9811-756AC9DC257D}" type="pres">
      <dgm:prSet presAssocID="{29D14B70-948A-49AE-9B9D-D762C298F18E}" presName="diagram" presStyleCnt="0">
        <dgm:presLayoutVars>
          <dgm:dir/>
          <dgm:animLvl val="lvl"/>
          <dgm:resizeHandles val="exact"/>
        </dgm:presLayoutVars>
      </dgm:prSet>
      <dgm:spPr/>
    </dgm:pt>
    <dgm:pt modelId="{3F08E5CF-4C0F-42D6-A0EC-43B0BB3EEDA5}" type="pres">
      <dgm:prSet presAssocID="{B741971F-0574-44AF-BCAD-EF76CF11C495}" presName="compNode" presStyleCnt="0"/>
      <dgm:spPr/>
    </dgm:pt>
    <dgm:pt modelId="{94FE3608-4126-409E-B853-B8C805631852}" type="pres">
      <dgm:prSet presAssocID="{B741971F-0574-44AF-BCAD-EF76CF11C495}" presName="childRect" presStyleLbl="bgAcc1" presStyleIdx="0" presStyleCnt="3" custScaleY="141595" custLinFactNeighborX="-306" custLinFactNeighborY="-819">
        <dgm:presLayoutVars>
          <dgm:bulletEnabled val="1"/>
        </dgm:presLayoutVars>
      </dgm:prSet>
      <dgm:spPr/>
    </dgm:pt>
    <dgm:pt modelId="{EFC6C6E9-2954-4E43-B6C4-A7286288D974}" type="pres">
      <dgm:prSet presAssocID="{B741971F-0574-44AF-BCAD-EF76CF11C495}" presName="parentText" presStyleLbl="node1" presStyleIdx="0" presStyleCnt="0">
        <dgm:presLayoutVars>
          <dgm:chMax val="0"/>
          <dgm:bulletEnabled val="1"/>
        </dgm:presLayoutVars>
      </dgm:prSet>
      <dgm:spPr/>
    </dgm:pt>
    <dgm:pt modelId="{A96F0448-A3D5-4773-B5B6-66E8D4CDC946}" type="pres">
      <dgm:prSet presAssocID="{B741971F-0574-44AF-BCAD-EF76CF11C495}" presName="parentRect" presStyleLbl="alignNode1" presStyleIdx="0" presStyleCnt="3" custLinFactNeighborY="49319"/>
      <dgm:spPr/>
    </dgm:pt>
    <dgm:pt modelId="{51DC0E18-98D2-46CB-9C88-6076340C4084}" type="pres">
      <dgm:prSet presAssocID="{B741971F-0574-44AF-BCAD-EF76CF11C495}" presName="adorn" presStyleLbl="fgAccFollowNode1" presStyleIdx="0" presStyleCnt="3"/>
      <dgm:spPr>
        <a:blipFill rotWithShape="1">
          <a:blip xmlns:r="http://schemas.openxmlformats.org/officeDocument/2006/relationships" r:embed="rId1"/>
          <a:stretch>
            <a:fillRect/>
          </a:stretch>
        </a:blipFill>
      </dgm:spPr>
    </dgm:pt>
    <dgm:pt modelId="{B190A5A2-C14B-4E24-8259-B245AC1FD5BF}" type="pres">
      <dgm:prSet presAssocID="{813F9957-0435-4919-A37F-E5EC8B0B6D3E}" presName="sibTrans" presStyleLbl="sibTrans2D1" presStyleIdx="0" presStyleCnt="0"/>
      <dgm:spPr/>
    </dgm:pt>
    <dgm:pt modelId="{05E87FF5-298C-4DDA-B35D-0FDC82F60542}" type="pres">
      <dgm:prSet presAssocID="{32A47C45-A51C-4D6D-8485-C67F9F462138}" presName="compNode" presStyleCnt="0"/>
      <dgm:spPr/>
    </dgm:pt>
    <dgm:pt modelId="{54C00C38-3646-4A9B-990B-725283AF277C}" type="pres">
      <dgm:prSet presAssocID="{32A47C45-A51C-4D6D-8485-C67F9F462138}" presName="childRect" presStyleLbl="bgAcc1" presStyleIdx="1" presStyleCnt="3" custScaleY="141595">
        <dgm:presLayoutVars>
          <dgm:bulletEnabled val="1"/>
        </dgm:presLayoutVars>
      </dgm:prSet>
      <dgm:spPr/>
    </dgm:pt>
    <dgm:pt modelId="{784473BD-8EBC-49D1-8F85-8D72F75D5E2C}" type="pres">
      <dgm:prSet presAssocID="{32A47C45-A51C-4D6D-8485-C67F9F462138}" presName="parentText" presStyleLbl="node1" presStyleIdx="0" presStyleCnt="0">
        <dgm:presLayoutVars>
          <dgm:chMax val="0"/>
          <dgm:bulletEnabled val="1"/>
        </dgm:presLayoutVars>
      </dgm:prSet>
      <dgm:spPr/>
    </dgm:pt>
    <dgm:pt modelId="{959761E5-3722-4A34-B672-29E1C1497564}" type="pres">
      <dgm:prSet presAssocID="{32A47C45-A51C-4D6D-8485-C67F9F462138}" presName="parentRect" presStyleLbl="alignNode1" presStyleIdx="1" presStyleCnt="3" custLinFactNeighborY="51116"/>
      <dgm:spPr/>
    </dgm:pt>
    <dgm:pt modelId="{D131B9D2-A78D-4209-BDD7-F3A3DE73B930}" type="pres">
      <dgm:prSet presAssocID="{32A47C45-A51C-4D6D-8485-C67F9F462138}" presName="adorn" presStyleLbl="fgAccFollowNode1" presStyleIdx="1" presStyleCnt="3"/>
      <dgm:spPr>
        <a:blipFill rotWithShape="1">
          <a:blip xmlns:r="http://schemas.openxmlformats.org/officeDocument/2006/relationships" r:embed="rId2"/>
          <a:stretch>
            <a:fillRect/>
          </a:stretch>
        </a:blipFill>
      </dgm:spPr>
    </dgm:pt>
    <dgm:pt modelId="{77833B25-AB9A-40C2-A98E-0E2D50F35483}" type="pres">
      <dgm:prSet presAssocID="{6A4730E3-2A4F-4B94-B02C-D972D18A31D2}" presName="sibTrans" presStyleLbl="sibTrans2D1" presStyleIdx="0" presStyleCnt="0"/>
      <dgm:spPr/>
    </dgm:pt>
    <dgm:pt modelId="{59818AC5-2294-4ED8-AA02-1996382E8468}" type="pres">
      <dgm:prSet presAssocID="{01B011D3-A1A4-4FD6-9300-2DDBC5368794}" presName="compNode" presStyleCnt="0"/>
      <dgm:spPr/>
    </dgm:pt>
    <dgm:pt modelId="{B1833104-F040-406E-BEB0-2AC63743E7F8}" type="pres">
      <dgm:prSet presAssocID="{01B011D3-A1A4-4FD6-9300-2DDBC5368794}" presName="childRect" presStyleLbl="bgAcc1" presStyleIdx="2" presStyleCnt="3" custScaleY="141595">
        <dgm:presLayoutVars>
          <dgm:bulletEnabled val="1"/>
        </dgm:presLayoutVars>
      </dgm:prSet>
      <dgm:spPr/>
    </dgm:pt>
    <dgm:pt modelId="{F40EFB7E-C7CA-4D37-A58A-48EF5BE9F3BF}" type="pres">
      <dgm:prSet presAssocID="{01B011D3-A1A4-4FD6-9300-2DDBC5368794}" presName="parentText" presStyleLbl="node1" presStyleIdx="0" presStyleCnt="0">
        <dgm:presLayoutVars>
          <dgm:chMax val="0"/>
          <dgm:bulletEnabled val="1"/>
        </dgm:presLayoutVars>
      </dgm:prSet>
      <dgm:spPr/>
    </dgm:pt>
    <dgm:pt modelId="{2CCDC246-F013-40CE-B4D6-DCA5A70C84AC}" type="pres">
      <dgm:prSet presAssocID="{01B011D3-A1A4-4FD6-9300-2DDBC5368794}" presName="parentRect" presStyleLbl="alignNode1" presStyleIdx="2" presStyleCnt="3" custLinFactNeighborX="-287" custLinFactNeighborY="51510"/>
      <dgm:spPr/>
    </dgm:pt>
    <dgm:pt modelId="{C545F47B-8E80-479C-9B02-17863B1D71D9}" type="pres">
      <dgm:prSet presAssocID="{01B011D3-A1A4-4FD6-9300-2DDBC5368794}" presName="adorn" presStyleLbl="fgAccFollowNode1" presStyleIdx="2" presStyleCnt="3"/>
      <dgm:spPr>
        <a:blipFill rotWithShape="1">
          <a:blip xmlns:r="http://schemas.openxmlformats.org/officeDocument/2006/relationships" r:embed="rId3"/>
          <a:stretch>
            <a:fillRect/>
          </a:stretch>
        </a:blipFill>
      </dgm:spPr>
    </dgm:pt>
  </dgm:ptLst>
  <dgm:cxnLst>
    <dgm:cxn modelId="{39A5FC2B-D6D0-4359-B961-78602EAEA1C4}" type="presOf" srcId="{A944DE7C-3456-4B68-85ED-1FA50A9F963D}" destId="{B1833104-F040-406E-BEB0-2AC63743E7F8}" srcOrd="0" destOrd="0" presId="urn:microsoft.com/office/officeart/2005/8/layout/bList2"/>
    <dgm:cxn modelId="{00B19B4D-6FF3-43C8-A95A-8453BE5538BF}" type="presOf" srcId="{B741971F-0574-44AF-BCAD-EF76CF11C495}" destId="{A96F0448-A3D5-4773-B5B6-66E8D4CDC946}" srcOrd="1" destOrd="0" presId="urn:microsoft.com/office/officeart/2005/8/layout/bList2"/>
    <dgm:cxn modelId="{742123E0-BEA8-4F00-84FE-877AB711EF34}" srcId="{32A47C45-A51C-4D6D-8485-C67F9F462138}" destId="{2196B77D-1154-4AB8-9068-D02EBAA330CC}" srcOrd="0" destOrd="0" parTransId="{C4394729-0BA1-49E1-A2E9-F8AEE0618726}" sibTransId="{DD6064E7-4C4C-46A3-AA63-E8EDC48E34A3}"/>
    <dgm:cxn modelId="{08A6B292-2076-4867-8F77-60E27C112C0D}" type="presOf" srcId="{6A4730E3-2A4F-4B94-B02C-D972D18A31D2}" destId="{77833B25-AB9A-40C2-A98E-0E2D50F35483}" srcOrd="0" destOrd="0" presId="urn:microsoft.com/office/officeart/2005/8/layout/bList2"/>
    <dgm:cxn modelId="{1104659B-E29B-4C74-A641-27AC78B31775}" type="presOf" srcId="{32A47C45-A51C-4D6D-8485-C67F9F462138}" destId="{959761E5-3722-4A34-B672-29E1C1497564}" srcOrd="1" destOrd="0" presId="urn:microsoft.com/office/officeart/2005/8/layout/bList2"/>
    <dgm:cxn modelId="{E5D26681-E30D-4E15-8FF7-4FDD59FFE283}" type="presOf" srcId="{01B011D3-A1A4-4FD6-9300-2DDBC5368794}" destId="{2CCDC246-F013-40CE-B4D6-DCA5A70C84AC}" srcOrd="1" destOrd="0" presId="urn:microsoft.com/office/officeart/2005/8/layout/bList2"/>
    <dgm:cxn modelId="{1FB990C3-382B-4F83-B3CE-7DA325DF9C0C}" type="presOf" srcId="{B741971F-0574-44AF-BCAD-EF76CF11C495}" destId="{EFC6C6E9-2954-4E43-B6C4-A7286288D974}" srcOrd="0" destOrd="0" presId="urn:microsoft.com/office/officeart/2005/8/layout/bList2"/>
    <dgm:cxn modelId="{91411E1C-6F0C-4A63-AACE-EA9F98221D2A}" srcId="{01B011D3-A1A4-4FD6-9300-2DDBC5368794}" destId="{A944DE7C-3456-4B68-85ED-1FA50A9F963D}" srcOrd="0" destOrd="0" parTransId="{C3C7A7D5-4F0B-4539-84AC-788E1926D1B1}" sibTransId="{2DE02A20-5694-4FA9-8CC6-C6CD01883C52}"/>
    <dgm:cxn modelId="{92B4E3BB-D112-406B-B1DA-8E324FCB5407}" srcId="{B741971F-0574-44AF-BCAD-EF76CF11C495}" destId="{8FE828F7-7DBC-4FFE-AE18-8CDC6CF0BA14}" srcOrd="0" destOrd="0" parTransId="{EEE758DB-89D0-4F98-8642-816555E8EB0C}" sibTransId="{2687DF85-8A12-49FD-9135-D47DC9186282}"/>
    <dgm:cxn modelId="{5BF29524-D27C-4347-A513-9E2237309101}" srcId="{29D14B70-948A-49AE-9B9D-D762C298F18E}" destId="{32A47C45-A51C-4D6D-8485-C67F9F462138}" srcOrd="1" destOrd="0" parTransId="{7C707766-0F59-4B3E-AEF0-68080B3CEC98}" sibTransId="{6A4730E3-2A4F-4B94-B02C-D972D18A31D2}"/>
    <dgm:cxn modelId="{5202EF24-CBF7-4A9C-8A09-46E3DE5CD249}" type="presOf" srcId="{29D14B70-948A-49AE-9B9D-D762C298F18E}" destId="{1B420DB6-A0DA-4831-9811-756AC9DC257D}" srcOrd="0" destOrd="0" presId="urn:microsoft.com/office/officeart/2005/8/layout/bList2"/>
    <dgm:cxn modelId="{9D5B5260-3A8A-464D-B1B3-CA856F88ABB9}" type="presOf" srcId="{813F9957-0435-4919-A37F-E5EC8B0B6D3E}" destId="{B190A5A2-C14B-4E24-8259-B245AC1FD5BF}" srcOrd="0" destOrd="0" presId="urn:microsoft.com/office/officeart/2005/8/layout/bList2"/>
    <dgm:cxn modelId="{E50337F1-9ED1-4726-ADD3-B491A15C9F31}" srcId="{29D14B70-948A-49AE-9B9D-D762C298F18E}" destId="{01B011D3-A1A4-4FD6-9300-2DDBC5368794}" srcOrd="2" destOrd="0" parTransId="{C5A96B34-E7A7-41AC-A38E-656DA9BD230C}" sibTransId="{8AA0E4AC-DC38-42C7-9023-8BDED1787596}"/>
    <dgm:cxn modelId="{DE6F57A3-7BF9-416B-84CC-F7A7E7A93781}" srcId="{29D14B70-948A-49AE-9B9D-D762C298F18E}" destId="{B741971F-0574-44AF-BCAD-EF76CF11C495}" srcOrd="0" destOrd="0" parTransId="{E8470A10-F886-473F-ADB4-18CF8E3ABA85}" sibTransId="{813F9957-0435-4919-A37F-E5EC8B0B6D3E}"/>
    <dgm:cxn modelId="{BF1B14CC-F138-47D5-81BD-FF0F4937D09C}" type="presOf" srcId="{2196B77D-1154-4AB8-9068-D02EBAA330CC}" destId="{54C00C38-3646-4A9B-990B-725283AF277C}" srcOrd="0" destOrd="0" presId="urn:microsoft.com/office/officeart/2005/8/layout/bList2"/>
    <dgm:cxn modelId="{3A066D87-71F9-434F-95AD-6D65A82F5FB8}" type="presOf" srcId="{32A47C45-A51C-4D6D-8485-C67F9F462138}" destId="{784473BD-8EBC-49D1-8F85-8D72F75D5E2C}" srcOrd="0" destOrd="0" presId="urn:microsoft.com/office/officeart/2005/8/layout/bList2"/>
    <dgm:cxn modelId="{E7ABBC75-493C-43F9-B41A-2ADEDF526215}" type="presOf" srcId="{01B011D3-A1A4-4FD6-9300-2DDBC5368794}" destId="{F40EFB7E-C7CA-4D37-A58A-48EF5BE9F3BF}" srcOrd="0" destOrd="0" presId="urn:microsoft.com/office/officeart/2005/8/layout/bList2"/>
    <dgm:cxn modelId="{3B26CF02-1DCD-4A7A-979A-D83D0A8BCC7F}" type="presOf" srcId="{8FE828F7-7DBC-4FFE-AE18-8CDC6CF0BA14}" destId="{94FE3608-4126-409E-B853-B8C805631852}" srcOrd="0" destOrd="0" presId="urn:microsoft.com/office/officeart/2005/8/layout/bList2"/>
    <dgm:cxn modelId="{6CF47415-52AF-47F2-8C67-64259CF07246}" type="presParOf" srcId="{1B420DB6-A0DA-4831-9811-756AC9DC257D}" destId="{3F08E5CF-4C0F-42D6-A0EC-43B0BB3EEDA5}" srcOrd="0" destOrd="0" presId="urn:microsoft.com/office/officeart/2005/8/layout/bList2"/>
    <dgm:cxn modelId="{EB4664EE-A198-4206-A27F-0DA357977A73}" type="presParOf" srcId="{3F08E5CF-4C0F-42D6-A0EC-43B0BB3EEDA5}" destId="{94FE3608-4126-409E-B853-B8C805631852}" srcOrd="0" destOrd="0" presId="urn:microsoft.com/office/officeart/2005/8/layout/bList2"/>
    <dgm:cxn modelId="{55F27979-8C57-4864-B360-3BCE4B7C5D35}" type="presParOf" srcId="{3F08E5CF-4C0F-42D6-A0EC-43B0BB3EEDA5}" destId="{EFC6C6E9-2954-4E43-B6C4-A7286288D974}" srcOrd="1" destOrd="0" presId="urn:microsoft.com/office/officeart/2005/8/layout/bList2"/>
    <dgm:cxn modelId="{C19BB018-8818-43E9-959F-10111344AECC}" type="presParOf" srcId="{3F08E5CF-4C0F-42D6-A0EC-43B0BB3EEDA5}" destId="{A96F0448-A3D5-4773-B5B6-66E8D4CDC946}" srcOrd="2" destOrd="0" presId="urn:microsoft.com/office/officeart/2005/8/layout/bList2"/>
    <dgm:cxn modelId="{8B4EE03E-3EDB-433F-B7B8-79BC6FB17A03}" type="presParOf" srcId="{3F08E5CF-4C0F-42D6-A0EC-43B0BB3EEDA5}" destId="{51DC0E18-98D2-46CB-9C88-6076340C4084}" srcOrd="3" destOrd="0" presId="urn:microsoft.com/office/officeart/2005/8/layout/bList2"/>
    <dgm:cxn modelId="{5227C12C-BE74-435C-9AF7-DD5FB05CCC16}" type="presParOf" srcId="{1B420DB6-A0DA-4831-9811-756AC9DC257D}" destId="{B190A5A2-C14B-4E24-8259-B245AC1FD5BF}" srcOrd="1" destOrd="0" presId="urn:microsoft.com/office/officeart/2005/8/layout/bList2"/>
    <dgm:cxn modelId="{E0014826-1ACB-4C4E-BC32-595D01433C47}" type="presParOf" srcId="{1B420DB6-A0DA-4831-9811-756AC9DC257D}" destId="{05E87FF5-298C-4DDA-B35D-0FDC82F60542}" srcOrd="2" destOrd="0" presId="urn:microsoft.com/office/officeart/2005/8/layout/bList2"/>
    <dgm:cxn modelId="{46559B1C-BAF7-4661-9FC9-46CE7890BFFE}" type="presParOf" srcId="{05E87FF5-298C-4DDA-B35D-0FDC82F60542}" destId="{54C00C38-3646-4A9B-990B-725283AF277C}" srcOrd="0" destOrd="0" presId="urn:microsoft.com/office/officeart/2005/8/layout/bList2"/>
    <dgm:cxn modelId="{A4407997-432E-4007-BD8E-5A8F87134FD4}" type="presParOf" srcId="{05E87FF5-298C-4DDA-B35D-0FDC82F60542}" destId="{784473BD-8EBC-49D1-8F85-8D72F75D5E2C}" srcOrd="1" destOrd="0" presId="urn:microsoft.com/office/officeart/2005/8/layout/bList2"/>
    <dgm:cxn modelId="{5E80E82E-C7B1-4523-B46B-B7C127D32C54}" type="presParOf" srcId="{05E87FF5-298C-4DDA-B35D-0FDC82F60542}" destId="{959761E5-3722-4A34-B672-29E1C1497564}" srcOrd="2" destOrd="0" presId="urn:microsoft.com/office/officeart/2005/8/layout/bList2"/>
    <dgm:cxn modelId="{DBAF302C-CC58-41F8-BD2B-E8CE116DAEEA}" type="presParOf" srcId="{05E87FF5-298C-4DDA-B35D-0FDC82F60542}" destId="{D131B9D2-A78D-4209-BDD7-F3A3DE73B930}" srcOrd="3" destOrd="0" presId="urn:microsoft.com/office/officeart/2005/8/layout/bList2"/>
    <dgm:cxn modelId="{4550F4B4-B671-4641-BA6A-BDA9747188B1}" type="presParOf" srcId="{1B420DB6-A0DA-4831-9811-756AC9DC257D}" destId="{77833B25-AB9A-40C2-A98E-0E2D50F35483}" srcOrd="3" destOrd="0" presId="urn:microsoft.com/office/officeart/2005/8/layout/bList2"/>
    <dgm:cxn modelId="{972AD539-CBEC-44F4-8312-58153FDC92C2}" type="presParOf" srcId="{1B420DB6-A0DA-4831-9811-756AC9DC257D}" destId="{59818AC5-2294-4ED8-AA02-1996382E8468}" srcOrd="4" destOrd="0" presId="urn:microsoft.com/office/officeart/2005/8/layout/bList2"/>
    <dgm:cxn modelId="{FFCA52BE-C77E-4604-B1C0-C51B07C1D3C9}" type="presParOf" srcId="{59818AC5-2294-4ED8-AA02-1996382E8468}" destId="{B1833104-F040-406E-BEB0-2AC63743E7F8}" srcOrd="0" destOrd="0" presId="urn:microsoft.com/office/officeart/2005/8/layout/bList2"/>
    <dgm:cxn modelId="{B9CF82B4-F64A-4AF9-A079-13A931F272A9}" type="presParOf" srcId="{59818AC5-2294-4ED8-AA02-1996382E8468}" destId="{F40EFB7E-C7CA-4D37-A58A-48EF5BE9F3BF}" srcOrd="1" destOrd="0" presId="urn:microsoft.com/office/officeart/2005/8/layout/bList2"/>
    <dgm:cxn modelId="{788094DA-3800-48DD-B67F-2B5108A52E74}" type="presParOf" srcId="{59818AC5-2294-4ED8-AA02-1996382E8468}" destId="{2CCDC246-F013-40CE-B4D6-DCA5A70C84AC}" srcOrd="2" destOrd="0" presId="urn:microsoft.com/office/officeart/2005/8/layout/bList2"/>
    <dgm:cxn modelId="{8B1709E5-10B2-4111-B9F7-2C8BA886A17B}" type="presParOf" srcId="{59818AC5-2294-4ED8-AA02-1996382E8468}" destId="{C545F47B-8E80-479C-9B02-17863B1D71D9}"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3D92DE-E31E-4B1D-956D-DE8941F59BDC}" type="doc">
      <dgm:prSet loTypeId="urn:microsoft.com/office/officeart/2005/8/layout/pyramid1" loCatId="pyramid" qsTypeId="urn:microsoft.com/office/officeart/2005/8/quickstyle/simple5" qsCatId="simple" csTypeId="urn:microsoft.com/office/officeart/2005/8/colors/colorful4" csCatId="colorful" phldr="1"/>
      <dgm:spPr/>
    </dgm:pt>
    <dgm:pt modelId="{DAFF999B-AC73-42E3-AD56-4582FD4BC233}">
      <dgm:prSet phldrT="[Text]" custT="1"/>
      <dgm:spPr/>
      <dgm:t>
        <a:bodyPr/>
        <a:lstStyle/>
        <a:p>
          <a:r>
            <a:rPr lang="en-US" sz="1400" b="1" dirty="0">
              <a:solidFill>
                <a:schemeClr val="accent3">
                  <a:lumMod val="50000"/>
                </a:schemeClr>
              </a:solidFill>
            </a:rPr>
            <a:t>Data</a:t>
          </a:r>
        </a:p>
        <a:p>
          <a:r>
            <a:rPr lang="en-US" sz="1400" b="1" dirty="0">
              <a:solidFill>
                <a:schemeClr val="accent3">
                  <a:lumMod val="50000"/>
                </a:schemeClr>
              </a:solidFill>
            </a:rPr>
            <a:t>Collection</a:t>
          </a:r>
        </a:p>
      </dgm:t>
    </dgm:pt>
    <dgm:pt modelId="{366497E6-13AA-46CE-8103-CD1086B21B20}" type="parTrans" cxnId="{E960870A-3410-43E2-B470-D193A7F666B2}">
      <dgm:prSet/>
      <dgm:spPr/>
      <dgm:t>
        <a:bodyPr/>
        <a:lstStyle/>
        <a:p>
          <a:endParaRPr lang="en-US" sz="1000">
            <a:solidFill>
              <a:schemeClr val="accent3">
                <a:lumMod val="50000"/>
              </a:schemeClr>
            </a:solidFill>
          </a:endParaRPr>
        </a:p>
      </dgm:t>
    </dgm:pt>
    <dgm:pt modelId="{6B1C91E4-B51C-48FF-8BAE-491759BB52DD}" type="sibTrans" cxnId="{E960870A-3410-43E2-B470-D193A7F666B2}">
      <dgm:prSet/>
      <dgm:spPr/>
      <dgm:t>
        <a:bodyPr/>
        <a:lstStyle/>
        <a:p>
          <a:endParaRPr lang="en-US" sz="1000">
            <a:solidFill>
              <a:schemeClr val="accent3">
                <a:lumMod val="50000"/>
              </a:schemeClr>
            </a:solidFill>
          </a:endParaRPr>
        </a:p>
      </dgm:t>
    </dgm:pt>
    <dgm:pt modelId="{5A2E2301-369F-4AB0-B355-1F5737093657}">
      <dgm:prSet phldrT="[Text]" custT="1"/>
      <dgm:spPr/>
      <dgm:t>
        <a:bodyPr/>
        <a:lstStyle/>
        <a:p>
          <a:r>
            <a:rPr lang="en-US" sz="1600" b="1">
              <a:solidFill>
                <a:schemeClr val="accent3">
                  <a:lumMod val="50000"/>
                </a:schemeClr>
              </a:solidFill>
            </a:rPr>
            <a:t>Data Engineering</a:t>
          </a:r>
          <a:endParaRPr lang="en-US" sz="1600" b="1" dirty="0">
            <a:solidFill>
              <a:schemeClr val="accent3">
                <a:lumMod val="50000"/>
              </a:schemeClr>
            </a:solidFill>
          </a:endParaRPr>
        </a:p>
      </dgm:t>
    </dgm:pt>
    <dgm:pt modelId="{AFF7DBEF-E661-4BC4-AFF8-AC9C15FC2E4F}" type="parTrans" cxnId="{D71BEE24-395A-436B-8C40-337EAC696243}">
      <dgm:prSet/>
      <dgm:spPr/>
      <dgm:t>
        <a:bodyPr/>
        <a:lstStyle/>
        <a:p>
          <a:endParaRPr lang="en-US" sz="1000">
            <a:solidFill>
              <a:schemeClr val="accent3">
                <a:lumMod val="50000"/>
              </a:schemeClr>
            </a:solidFill>
          </a:endParaRPr>
        </a:p>
      </dgm:t>
    </dgm:pt>
    <dgm:pt modelId="{78549CB3-DDD6-4E29-9C2F-D8047B702411}" type="sibTrans" cxnId="{D71BEE24-395A-436B-8C40-337EAC696243}">
      <dgm:prSet/>
      <dgm:spPr/>
      <dgm:t>
        <a:bodyPr/>
        <a:lstStyle/>
        <a:p>
          <a:endParaRPr lang="en-US" sz="1000">
            <a:solidFill>
              <a:schemeClr val="accent3">
                <a:lumMod val="50000"/>
              </a:schemeClr>
            </a:solidFill>
          </a:endParaRPr>
        </a:p>
      </dgm:t>
    </dgm:pt>
    <dgm:pt modelId="{D9ED549D-88D3-4046-BF01-7F164CF01EF5}">
      <dgm:prSet phldrT="[Text]" custT="1"/>
      <dgm:spPr/>
      <dgm:t>
        <a:bodyPr/>
        <a:lstStyle/>
        <a:p>
          <a:r>
            <a:rPr lang="en-US" sz="1600" b="1">
              <a:solidFill>
                <a:schemeClr val="accent3">
                  <a:lumMod val="50000"/>
                </a:schemeClr>
              </a:solidFill>
            </a:rPr>
            <a:t>Capability and Analytics Mapping</a:t>
          </a:r>
          <a:endParaRPr lang="en-US" sz="1600" b="1" dirty="0">
            <a:solidFill>
              <a:schemeClr val="accent3">
                <a:lumMod val="50000"/>
              </a:schemeClr>
            </a:solidFill>
          </a:endParaRPr>
        </a:p>
      </dgm:t>
    </dgm:pt>
    <dgm:pt modelId="{7C5636DB-EE91-4C84-BC16-CB364A91B1A7}" type="parTrans" cxnId="{BFA40485-6B91-4E45-BB61-699710969FAC}">
      <dgm:prSet/>
      <dgm:spPr/>
      <dgm:t>
        <a:bodyPr/>
        <a:lstStyle/>
        <a:p>
          <a:endParaRPr lang="en-US" sz="1000">
            <a:solidFill>
              <a:schemeClr val="accent3">
                <a:lumMod val="50000"/>
              </a:schemeClr>
            </a:solidFill>
          </a:endParaRPr>
        </a:p>
      </dgm:t>
    </dgm:pt>
    <dgm:pt modelId="{1AAC4A11-E32C-4E82-8B89-E02ABAB2603A}" type="sibTrans" cxnId="{BFA40485-6B91-4E45-BB61-699710969FAC}">
      <dgm:prSet/>
      <dgm:spPr/>
      <dgm:t>
        <a:bodyPr/>
        <a:lstStyle/>
        <a:p>
          <a:endParaRPr lang="en-US" sz="1000">
            <a:solidFill>
              <a:schemeClr val="accent3">
                <a:lumMod val="50000"/>
              </a:schemeClr>
            </a:solidFill>
          </a:endParaRPr>
        </a:p>
      </dgm:t>
    </dgm:pt>
    <dgm:pt modelId="{E1D16921-D5A2-44AB-BB3A-42EA69741AB1}">
      <dgm:prSet custT="1"/>
      <dgm:spPr/>
      <dgm:t>
        <a:bodyPr/>
        <a:lstStyle/>
        <a:p>
          <a:r>
            <a:rPr lang="en-US" sz="1600" b="1" dirty="0">
              <a:solidFill>
                <a:schemeClr val="accent3">
                  <a:lumMod val="50000"/>
                </a:schemeClr>
              </a:solidFill>
            </a:rPr>
            <a:t>Operationalize and Make Ready for Production</a:t>
          </a:r>
        </a:p>
      </dgm:t>
    </dgm:pt>
    <dgm:pt modelId="{AB89B2F8-05FC-425D-81A9-7C6D13B4EF7A}" type="parTrans" cxnId="{59093BE1-681A-4ADD-AC83-13DEBD39F8B4}">
      <dgm:prSet/>
      <dgm:spPr/>
      <dgm:t>
        <a:bodyPr/>
        <a:lstStyle/>
        <a:p>
          <a:endParaRPr lang="en-US" sz="1000">
            <a:solidFill>
              <a:schemeClr val="accent3">
                <a:lumMod val="50000"/>
              </a:schemeClr>
            </a:solidFill>
          </a:endParaRPr>
        </a:p>
      </dgm:t>
    </dgm:pt>
    <dgm:pt modelId="{63393866-A9FD-41D2-B2DD-66CC68A4DC2C}" type="sibTrans" cxnId="{59093BE1-681A-4ADD-AC83-13DEBD39F8B4}">
      <dgm:prSet/>
      <dgm:spPr/>
      <dgm:t>
        <a:bodyPr/>
        <a:lstStyle/>
        <a:p>
          <a:endParaRPr lang="en-US" sz="1000">
            <a:solidFill>
              <a:schemeClr val="accent3">
                <a:lumMod val="50000"/>
              </a:schemeClr>
            </a:solidFill>
          </a:endParaRPr>
        </a:p>
      </dgm:t>
    </dgm:pt>
    <dgm:pt modelId="{93FC9BAC-6F20-4F35-93F9-39E71390A822}" type="pres">
      <dgm:prSet presAssocID="{173D92DE-E31E-4B1D-956D-DE8941F59BDC}" presName="Name0" presStyleCnt="0">
        <dgm:presLayoutVars>
          <dgm:dir/>
          <dgm:animLvl val="lvl"/>
          <dgm:resizeHandles val="exact"/>
        </dgm:presLayoutVars>
      </dgm:prSet>
      <dgm:spPr/>
    </dgm:pt>
    <dgm:pt modelId="{E67BDA40-F7A3-45AE-8189-F03F15724B04}" type="pres">
      <dgm:prSet presAssocID="{DAFF999B-AC73-42E3-AD56-4582FD4BC233}" presName="Name8" presStyleCnt="0"/>
      <dgm:spPr/>
    </dgm:pt>
    <dgm:pt modelId="{489723DD-9704-4341-A584-C511608C04B7}" type="pres">
      <dgm:prSet presAssocID="{DAFF999B-AC73-42E3-AD56-4582FD4BC233}" presName="level" presStyleLbl="node1" presStyleIdx="0" presStyleCnt="4">
        <dgm:presLayoutVars>
          <dgm:chMax val="1"/>
          <dgm:bulletEnabled val="1"/>
        </dgm:presLayoutVars>
      </dgm:prSet>
      <dgm:spPr/>
    </dgm:pt>
    <dgm:pt modelId="{A6DBF3C8-3276-4117-801C-9390860D3F23}" type="pres">
      <dgm:prSet presAssocID="{DAFF999B-AC73-42E3-AD56-4582FD4BC233}" presName="levelTx" presStyleLbl="revTx" presStyleIdx="0" presStyleCnt="0">
        <dgm:presLayoutVars>
          <dgm:chMax val="1"/>
          <dgm:bulletEnabled val="1"/>
        </dgm:presLayoutVars>
      </dgm:prSet>
      <dgm:spPr/>
    </dgm:pt>
    <dgm:pt modelId="{A2DBB04C-463D-4171-9E00-9EF87C72880A}" type="pres">
      <dgm:prSet presAssocID="{5A2E2301-369F-4AB0-B355-1F5737093657}" presName="Name8" presStyleCnt="0"/>
      <dgm:spPr/>
    </dgm:pt>
    <dgm:pt modelId="{2FAA9887-D9B3-4E05-9A4F-A4FE91EA85A4}" type="pres">
      <dgm:prSet presAssocID="{5A2E2301-369F-4AB0-B355-1F5737093657}" presName="level" presStyleLbl="node1" presStyleIdx="1" presStyleCnt="4">
        <dgm:presLayoutVars>
          <dgm:chMax val="1"/>
          <dgm:bulletEnabled val="1"/>
        </dgm:presLayoutVars>
      </dgm:prSet>
      <dgm:spPr/>
    </dgm:pt>
    <dgm:pt modelId="{E42CD888-FD61-4AED-983C-C54747029BAB}" type="pres">
      <dgm:prSet presAssocID="{5A2E2301-369F-4AB0-B355-1F5737093657}" presName="levelTx" presStyleLbl="revTx" presStyleIdx="0" presStyleCnt="0">
        <dgm:presLayoutVars>
          <dgm:chMax val="1"/>
          <dgm:bulletEnabled val="1"/>
        </dgm:presLayoutVars>
      </dgm:prSet>
      <dgm:spPr/>
    </dgm:pt>
    <dgm:pt modelId="{40471B3D-3001-4A8E-A8FD-935845A75D6B}" type="pres">
      <dgm:prSet presAssocID="{D9ED549D-88D3-4046-BF01-7F164CF01EF5}" presName="Name8" presStyleCnt="0"/>
      <dgm:spPr/>
    </dgm:pt>
    <dgm:pt modelId="{D2588213-C2E5-4653-86A6-AFDC3F8B1922}" type="pres">
      <dgm:prSet presAssocID="{D9ED549D-88D3-4046-BF01-7F164CF01EF5}" presName="level" presStyleLbl="node1" presStyleIdx="2" presStyleCnt="4">
        <dgm:presLayoutVars>
          <dgm:chMax val="1"/>
          <dgm:bulletEnabled val="1"/>
        </dgm:presLayoutVars>
      </dgm:prSet>
      <dgm:spPr/>
    </dgm:pt>
    <dgm:pt modelId="{F84C1BA3-D987-4269-B8C6-7CE7423595ED}" type="pres">
      <dgm:prSet presAssocID="{D9ED549D-88D3-4046-BF01-7F164CF01EF5}" presName="levelTx" presStyleLbl="revTx" presStyleIdx="0" presStyleCnt="0">
        <dgm:presLayoutVars>
          <dgm:chMax val="1"/>
          <dgm:bulletEnabled val="1"/>
        </dgm:presLayoutVars>
      </dgm:prSet>
      <dgm:spPr/>
    </dgm:pt>
    <dgm:pt modelId="{972A6345-EFA5-4ECF-9092-BA4480E12163}" type="pres">
      <dgm:prSet presAssocID="{E1D16921-D5A2-44AB-BB3A-42EA69741AB1}" presName="Name8" presStyleCnt="0"/>
      <dgm:spPr/>
    </dgm:pt>
    <dgm:pt modelId="{84AA64F9-BE80-4099-8A2C-EF7C650115DF}" type="pres">
      <dgm:prSet presAssocID="{E1D16921-D5A2-44AB-BB3A-42EA69741AB1}" presName="level" presStyleLbl="node1" presStyleIdx="3" presStyleCnt="4">
        <dgm:presLayoutVars>
          <dgm:chMax val="1"/>
          <dgm:bulletEnabled val="1"/>
        </dgm:presLayoutVars>
      </dgm:prSet>
      <dgm:spPr/>
    </dgm:pt>
    <dgm:pt modelId="{CFECD3E1-48F1-4EB2-9564-B0B7078C3876}" type="pres">
      <dgm:prSet presAssocID="{E1D16921-D5A2-44AB-BB3A-42EA69741AB1}" presName="levelTx" presStyleLbl="revTx" presStyleIdx="0" presStyleCnt="0">
        <dgm:presLayoutVars>
          <dgm:chMax val="1"/>
          <dgm:bulletEnabled val="1"/>
        </dgm:presLayoutVars>
      </dgm:prSet>
      <dgm:spPr/>
    </dgm:pt>
  </dgm:ptLst>
  <dgm:cxnLst>
    <dgm:cxn modelId="{BE27E919-3B7B-47EC-80A3-6517A668A2BD}" type="presOf" srcId="{E1D16921-D5A2-44AB-BB3A-42EA69741AB1}" destId="{CFECD3E1-48F1-4EB2-9564-B0B7078C3876}" srcOrd="1" destOrd="0" presId="urn:microsoft.com/office/officeart/2005/8/layout/pyramid1"/>
    <dgm:cxn modelId="{D4B51146-C95D-48F1-BFAE-06B00BD57968}" type="presOf" srcId="{DAFF999B-AC73-42E3-AD56-4582FD4BC233}" destId="{489723DD-9704-4341-A584-C511608C04B7}" srcOrd="0" destOrd="0" presId="urn:microsoft.com/office/officeart/2005/8/layout/pyramid1"/>
    <dgm:cxn modelId="{1A8CD24F-6AD3-444A-9E9C-F3A1D11D5596}" type="presOf" srcId="{173D92DE-E31E-4B1D-956D-DE8941F59BDC}" destId="{93FC9BAC-6F20-4F35-93F9-39E71390A822}" srcOrd="0" destOrd="0" presId="urn:microsoft.com/office/officeart/2005/8/layout/pyramid1"/>
    <dgm:cxn modelId="{7A14048D-7D76-4C62-ABDA-C9A83EE87F77}" type="presOf" srcId="{DAFF999B-AC73-42E3-AD56-4582FD4BC233}" destId="{A6DBF3C8-3276-4117-801C-9390860D3F23}" srcOrd="1" destOrd="0" presId="urn:microsoft.com/office/officeart/2005/8/layout/pyramid1"/>
    <dgm:cxn modelId="{D71BEE24-395A-436B-8C40-337EAC696243}" srcId="{173D92DE-E31E-4B1D-956D-DE8941F59BDC}" destId="{5A2E2301-369F-4AB0-B355-1F5737093657}" srcOrd="1" destOrd="0" parTransId="{AFF7DBEF-E661-4BC4-AFF8-AC9C15FC2E4F}" sibTransId="{78549CB3-DDD6-4E29-9C2F-D8047B702411}"/>
    <dgm:cxn modelId="{1714256B-066E-4EA4-B9E9-853328C58AA0}" type="presOf" srcId="{5A2E2301-369F-4AB0-B355-1F5737093657}" destId="{2FAA9887-D9B3-4E05-9A4F-A4FE91EA85A4}" srcOrd="0" destOrd="0" presId="urn:microsoft.com/office/officeart/2005/8/layout/pyramid1"/>
    <dgm:cxn modelId="{D57F6AB8-2AD4-48D5-B731-851A5189AC36}" type="presOf" srcId="{E1D16921-D5A2-44AB-BB3A-42EA69741AB1}" destId="{84AA64F9-BE80-4099-8A2C-EF7C650115DF}" srcOrd="0" destOrd="0" presId="urn:microsoft.com/office/officeart/2005/8/layout/pyramid1"/>
    <dgm:cxn modelId="{E960870A-3410-43E2-B470-D193A7F666B2}" srcId="{173D92DE-E31E-4B1D-956D-DE8941F59BDC}" destId="{DAFF999B-AC73-42E3-AD56-4582FD4BC233}" srcOrd="0" destOrd="0" parTransId="{366497E6-13AA-46CE-8103-CD1086B21B20}" sibTransId="{6B1C91E4-B51C-48FF-8BAE-491759BB52DD}"/>
    <dgm:cxn modelId="{EC15C3EF-06C6-4C9A-B39C-55320D62E39B}" type="presOf" srcId="{D9ED549D-88D3-4046-BF01-7F164CF01EF5}" destId="{D2588213-C2E5-4653-86A6-AFDC3F8B1922}" srcOrd="0" destOrd="0" presId="urn:microsoft.com/office/officeart/2005/8/layout/pyramid1"/>
    <dgm:cxn modelId="{D72AFE16-FDC6-4817-AE0F-9689D1FBB472}" type="presOf" srcId="{5A2E2301-369F-4AB0-B355-1F5737093657}" destId="{E42CD888-FD61-4AED-983C-C54747029BAB}" srcOrd="1" destOrd="0" presId="urn:microsoft.com/office/officeart/2005/8/layout/pyramid1"/>
    <dgm:cxn modelId="{BFA40485-6B91-4E45-BB61-699710969FAC}" srcId="{173D92DE-E31E-4B1D-956D-DE8941F59BDC}" destId="{D9ED549D-88D3-4046-BF01-7F164CF01EF5}" srcOrd="2" destOrd="0" parTransId="{7C5636DB-EE91-4C84-BC16-CB364A91B1A7}" sibTransId="{1AAC4A11-E32C-4E82-8B89-E02ABAB2603A}"/>
    <dgm:cxn modelId="{59093BE1-681A-4ADD-AC83-13DEBD39F8B4}" srcId="{173D92DE-E31E-4B1D-956D-DE8941F59BDC}" destId="{E1D16921-D5A2-44AB-BB3A-42EA69741AB1}" srcOrd="3" destOrd="0" parTransId="{AB89B2F8-05FC-425D-81A9-7C6D13B4EF7A}" sibTransId="{63393866-A9FD-41D2-B2DD-66CC68A4DC2C}"/>
    <dgm:cxn modelId="{63015BBE-0FEA-419B-AADF-4EB86FD9C8FB}" type="presOf" srcId="{D9ED549D-88D3-4046-BF01-7F164CF01EF5}" destId="{F84C1BA3-D987-4269-B8C6-7CE7423595ED}" srcOrd="1" destOrd="0" presId="urn:microsoft.com/office/officeart/2005/8/layout/pyramid1"/>
    <dgm:cxn modelId="{A9B65F8F-B7CD-46B6-B042-58DE9207B37B}" type="presParOf" srcId="{93FC9BAC-6F20-4F35-93F9-39E71390A822}" destId="{E67BDA40-F7A3-45AE-8189-F03F15724B04}" srcOrd="0" destOrd="0" presId="urn:microsoft.com/office/officeart/2005/8/layout/pyramid1"/>
    <dgm:cxn modelId="{6E62DDEF-8EE6-4E5D-BCE4-7B30110DCB45}" type="presParOf" srcId="{E67BDA40-F7A3-45AE-8189-F03F15724B04}" destId="{489723DD-9704-4341-A584-C511608C04B7}" srcOrd="0" destOrd="0" presId="urn:microsoft.com/office/officeart/2005/8/layout/pyramid1"/>
    <dgm:cxn modelId="{53D7C75A-1C41-465A-8BF2-D97C35BE57F7}" type="presParOf" srcId="{E67BDA40-F7A3-45AE-8189-F03F15724B04}" destId="{A6DBF3C8-3276-4117-801C-9390860D3F23}" srcOrd="1" destOrd="0" presId="urn:microsoft.com/office/officeart/2005/8/layout/pyramid1"/>
    <dgm:cxn modelId="{47A185D6-7A70-4FD5-BF0E-61A8A129F4C2}" type="presParOf" srcId="{93FC9BAC-6F20-4F35-93F9-39E71390A822}" destId="{A2DBB04C-463D-4171-9E00-9EF87C72880A}" srcOrd="1" destOrd="0" presId="urn:microsoft.com/office/officeart/2005/8/layout/pyramid1"/>
    <dgm:cxn modelId="{7FFF27AB-6290-437B-A191-47E3C2395786}" type="presParOf" srcId="{A2DBB04C-463D-4171-9E00-9EF87C72880A}" destId="{2FAA9887-D9B3-4E05-9A4F-A4FE91EA85A4}" srcOrd="0" destOrd="0" presId="urn:microsoft.com/office/officeart/2005/8/layout/pyramid1"/>
    <dgm:cxn modelId="{0DA00D00-7735-480D-9C73-108165F82CBC}" type="presParOf" srcId="{A2DBB04C-463D-4171-9E00-9EF87C72880A}" destId="{E42CD888-FD61-4AED-983C-C54747029BAB}" srcOrd="1" destOrd="0" presId="urn:microsoft.com/office/officeart/2005/8/layout/pyramid1"/>
    <dgm:cxn modelId="{A36C08B1-C412-4F3A-BA37-8F9041E4A4F2}" type="presParOf" srcId="{93FC9BAC-6F20-4F35-93F9-39E71390A822}" destId="{40471B3D-3001-4A8E-A8FD-935845A75D6B}" srcOrd="2" destOrd="0" presId="urn:microsoft.com/office/officeart/2005/8/layout/pyramid1"/>
    <dgm:cxn modelId="{38CAB326-3594-49AE-9B7E-022CDA5A92E7}" type="presParOf" srcId="{40471B3D-3001-4A8E-A8FD-935845A75D6B}" destId="{D2588213-C2E5-4653-86A6-AFDC3F8B1922}" srcOrd="0" destOrd="0" presId="urn:microsoft.com/office/officeart/2005/8/layout/pyramid1"/>
    <dgm:cxn modelId="{0016FCAF-BCDD-4199-BCC9-24BA03756224}" type="presParOf" srcId="{40471B3D-3001-4A8E-A8FD-935845A75D6B}" destId="{F84C1BA3-D987-4269-B8C6-7CE7423595ED}" srcOrd="1" destOrd="0" presId="urn:microsoft.com/office/officeart/2005/8/layout/pyramid1"/>
    <dgm:cxn modelId="{9C971B4C-9782-4704-A4DA-D7DE4971B7C3}" type="presParOf" srcId="{93FC9BAC-6F20-4F35-93F9-39E71390A822}" destId="{972A6345-EFA5-4ECF-9092-BA4480E12163}" srcOrd="3" destOrd="0" presId="urn:microsoft.com/office/officeart/2005/8/layout/pyramid1"/>
    <dgm:cxn modelId="{6559AB68-5158-431C-B1BF-62D0F7F62067}" type="presParOf" srcId="{972A6345-EFA5-4ECF-9092-BA4480E12163}" destId="{84AA64F9-BE80-4099-8A2C-EF7C650115DF}" srcOrd="0" destOrd="0" presId="urn:microsoft.com/office/officeart/2005/8/layout/pyramid1"/>
    <dgm:cxn modelId="{D3774A2F-5CD5-4CBE-AE2F-66FC8624A604}" type="presParOf" srcId="{972A6345-EFA5-4ECF-9092-BA4480E12163}" destId="{CFECD3E1-48F1-4EB2-9564-B0B7078C3876}" srcOrd="1" destOrd="0" presId="urn:microsoft.com/office/officeart/2005/8/layout/pyramid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FE3608-4126-409E-B853-B8C805631852}">
      <dsp:nvSpPr>
        <dsp:cNvPr id="0" name=""/>
        <dsp:cNvSpPr/>
      </dsp:nvSpPr>
      <dsp:spPr>
        <a:xfrm>
          <a:off x="0" y="1157668"/>
          <a:ext cx="2521023" cy="2664663"/>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Experienced senior architects focused on building cloud-first applications that are highly-available, highly-scalable and transformative for your business</a:t>
          </a:r>
        </a:p>
      </dsp:txBody>
      <dsp:txXfrm>
        <a:off x="59071" y="1216739"/>
        <a:ext cx="2402881" cy="2605592"/>
      </dsp:txXfrm>
    </dsp:sp>
    <dsp:sp modelId="{A96F0448-A3D5-4773-B5B6-66E8D4CDC946}">
      <dsp:nvSpPr>
        <dsp:cNvPr id="0" name=""/>
        <dsp:cNvSpPr/>
      </dsp:nvSpPr>
      <dsp:spPr>
        <a:xfrm>
          <a:off x="5836" y="3845454"/>
          <a:ext cx="2521023" cy="80921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0" rIns="67310" bIns="0" numCol="1" spcCol="1270" anchor="ctr" anchorCtr="0">
          <a:noAutofit/>
        </a:bodyPr>
        <a:lstStyle/>
        <a:p>
          <a:pPr marL="0" lvl="0" indent="0" algn="l" defTabSz="2355850">
            <a:lnSpc>
              <a:spcPct val="90000"/>
            </a:lnSpc>
            <a:spcBef>
              <a:spcPct val="0"/>
            </a:spcBef>
            <a:spcAft>
              <a:spcPct val="35000"/>
            </a:spcAft>
            <a:buNone/>
          </a:pPr>
          <a:r>
            <a:rPr lang="en-US" sz="5300" kern="1200" dirty="0"/>
            <a:t>CSA</a:t>
          </a:r>
        </a:p>
      </dsp:txBody>
      <dsp:txXfrm>
        <a:off x="5836" y="3845454"/>
        <a:ext cx="1775368" cy="809213"/>
      </dsp:txXfrm>
    </dsp:sp>
    <dsp:sp modelId="{51DC0E18-98D2-46CB-9C88-6076340C4084}">
      <dsp:nvSpPr>
        <dsp:cNvPr id="0" name=""/>
        <dsp:cNvSpPr/>
      </dsp:nvSpPr>
      <dsp:spPr>
        <a:xfrm>
          <a:off x="1852521" y="3574894"/>
          <a:ext cx="882358" cy="882358"/>
        </a:xfrm>
        <a:prstGeom prst="ellipse">
          <a:avLst/>
        </a:prstGeom>
        <a:blipFill rotWithShape="1">
          <a:blip xmlns:r="http://schemas.openxmlformats.org/officeDocument/2006/relationships" r:embed="rId1"/>
          <a:stretch>
            <a:fillRect/>
          </a:stretch>
        </a:blip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C00C38-3646-4A9B-990B-725283AF277C}">
      <dsp:nvSpPr>
        <dsp:cNvPr id="0" name=""/>
        <dsp:cNvSpPr/>
      </dsp:nvSpPr>
      <dsp:spPr>
        <a:xfrm>
          <a:off x="2953478" y="1173081"/>
          <a:ext cx="2521023" cy="2664663"/>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Dedicated database, analytics, business intelligence, data warehouse and Big Data architects with decades of experience in Microsoft, open source and non-Microsoft data platforms</a:t>
          </a:r>
        </a:p>
      </dsp:txBody>
      <dsp:txXfrm>
        <a:off x="3012549" y="1232152"/>
        <a:ext cx="2402881" cy="2605592"/>
      </dsp:txXfrm>
    </dsp:sp>
    <dsp:sp modelId="{959761E5-3722-4A34-B672-29E1C1497564}">
      <dsp:nvSpPr>
        <dsp:cNvPr id="0" name=""/>
        <dsp:cNvSpPr/>
      </dsp:nvSpPr>
      <dsp:spPr>
        <a:xfrm>
          <a:off x="2953478" y="3859995"/>
          <a:ext cx="2521023" cy="80921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0" rIns="67310" bIns="0" numCol="1" spcCol="1270" anchor="ctr" anchorCtr="0">
          <a:noAutofit/>
        </a:bodyPr>
        <a:lstStyle/>
        <a:p>
          <a:pPr marL="0" lvl="0" indent="0" algn="l" defTabSz="2355850">
            <a:lnSpc>
              <a:spcPct val="90000"/>
            </a:lnSpc>
            <a:spcBef>
              <a:spcPct val="0"/>
            </a:spcBef>
            <a:spcAft>
              <a:spcPct val="35000"/>
            </a:spcAft>
            <a:buNone/>
          </a:pPr>
          <a:r>
            <a:rPr lang="en-US" sz="5300" kern="1200" dirty="0"/>
            <a:t>DSA</a:t>
          </a:r>
        </a:p>
      </dsp:txBody>
      <dsp:txXfrm>
        <a:off x="2953478" y="3859995"/>
        <a:ext cx="1775368" cy="809213"/>
      </dsp:txXfrm>
    </dsp:sp>
    <dsp:sp modelId="{D131B9D2-A78D-4209-BDD7-F3A3DE73B930}">
      <dsp:nvSpPr>
        <dsp:cNvPr id="0" name=""/>
        <dsp:cNvSpPr/>
      </dsp:nvSpPr>
      <dsp:spPr>
        <a:xfrm>
          <a:off x="4800163" y="3574894"/>
          <a:ext cx="882358" cy="882358"/>
        </a:xfrm>
        <a:prstGeom prst="ellipse">
          <a:avLst/>
        </a:prstGeom>
        <a:blipFill rotWithShape="1">
          <a:blip xmlns:r="http://schemas.openxmlformats.org/officeDocument/2006/relationships" r:embed="rId2"/>
          <a:stretch>
            <a:fillRect/>
          </a:stretch>
        </a:blip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1833104-F040-406E-BEB0-2AC63743E7F8}">
      <dsp:nvSpPr>
        <dsp:cNvPr id="0" name=""/>
        <dsp:cNvSpPr/>
      </dsp:nvSpPr>
      <dsp:spPr>
        <a:xfrm>
          <a:off x="5901120" y="1173081"/>
          <a:ext cx="2521023" cy="2664663"/>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Azure experts dedicated to your long-term success in building Azure cloud-first solutions that will give you a strategic business advantage with access to abundant resources throughout Microsoft and the vast Microsoft partner ecosystem</a:t>
          </a:r>
        </a:p>
      </dsp:txBody>
      <dsp:txXfrm>
        <a:off x="5960191" y="1232152"/>
        <a:ext cx="2402881" cy="2605592"/>
      </dsp:txXfrm>
    </dsp:sp>
    <dsp:sp modelId="{2CCDC246-F013-40CE-B4D6-DCA5A70C84AC}">
      <dsp:nvSpPr>
        <dsp:cNvPr id="0" name=""/>
        <dsp:cNvSpPr/>
      </dsp:nvSpPr>
      <dsp:spPr>
        <a:xfrm>
          <a:off x="5893884" y="3863184"/>
          <a:ext cx="2521023" cy="80921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0" rIns="67310" bIns="0" numCol="1" spcCol="1270" anchor="ctr" anchorCtr="0">
          <a:noAutofit/>
        </a:bodyPr>
        <a:lstStyle/>
        <a:p>
          <a:pPr marL="0" lvl="0" indent="0" algn="l" defTabSz="2355850">
            <a:lnSpc>
              <a:spcPct val="90000"/>
            </a:lnSpc>
            <a:spcBef>
              <a:spcPct val="0"/>
            </a:spcBef>
            <a:spcAft>
              <a:spcPct val="35000"/>
            </a:spcAft>
            <a:buNone/>
          </a:pPr>
          <a:r>
            <a:rPr lang="en-US" sz="5300" kern="1200" dirty="0"/>
            <a:t>PSS</a:t>
          </a:r>
        </a:p>
      </dsp:txBody>
      <dsp:txXfrm>
        <a:off x="5893884" y="3863184"/>
        <a:ext cx="1775368" cy="809213"/>
      </dsp:txXfrm>
    </dsp:sp>
    <dsp:sp modelId="{C545F47B-8E80-479C-9B02-17863B1D71D9}">
      <dsp:nvSpPr>
        <dsp:cNvPr id="0" name=""/>
        <dsp:cNvSpPr/>
      </dsp:nvSpPr>
      <dsp:spPr>
        <a:xfrm>
          <a:off x="7747804" y="3574894"/>
          <a:ext cx="882358" cy="882358"/>
        </a:xfrm>
        <a:prstGeom prst="ellipse">
          <a:avLst/>
        </a:prstGeom>
        <a:blipFill rotWithShape="1">
          <a:blip xmlns:r="http://schemas.openxmlformats.org/officeDocument/2006/relationships" r:embed="rId3"/>
          <a:stretch>
            <a:fillRect/>
          </a:stretch>
        </a:blip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9723DD-9704-4341-A584-C511608C04B7}">
      <dsp:nvSpPr>
        <dsp:cNvPr id="0" name=""/>
        <dsp:cNvSpPr/>
      </dsp:nvSpPr>
      <dsp:spPr>
        <a:xfrm>
          <a:off x="2617693" y="0"/>
          <a:ext cx="1745129" cy="1354666"/>
        </a:xfrm>
        <a:prstGeom prst="trapezoid">
          <a:avLst>
            <a:gd name="adj" fmla="val 6441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accent3">
                  <a:lumMod val="50000"/>
                </a:schemeClr>
              </a:solidFill>
            </a:rPr>
            <a:t>Data</a:t>
          </a:r>
        </a:p>
        <a:p>
          <a:pPr marL="0" lvl="0" indent="0" algn="ctr" defTabSz="622300">
            <a:lnSpc>
              <a:spcPct val="90000"/>
            </a:lnSpc>
            <a:spcBef>
              <a:spcPct val="0"/>
            </a:spcBef>
            <a:spcAft>
              <a:spcPct val="35000"/>
            </a:spcAft>
            <a:buNone/>
          </a:pPr>
          <a:r>
            <a:rPr lang="en-US" sz="1400" b="1" kern="1200" dirty="0">
              <a:solidFill>
                <a:schemeClr val="accent3">
                  <a:lumMod val="50000"/>
                </a:schemeClr>
              </a:solidFill>
            </a:rPr>
            <a:t>Collection</a:t>
          </a:r>
        </a:p>
      </dsp:txBody>
      <dsp:txXfrm>
        <a:off x="2617693" y="0"/>
        <a:ext cx="1745129" cy="1354666"/>
      </dsp:txXfrm>
    </dsp:sp>
    <dsp:sp modelId="{2FAA9887-D9B3-4E05-9A4F-A4FE91EA85A4}">
      <dsp:nvSpPr>
        <dsp:cNvPr id="0" name=""/>
        <dsp:cNvSpPr/>
      </dsp:nvSpPr>
      <dsp:spPr>
        <a:xfrm>
          <a:off x="1745129" y="1354666"/>
          <a:ext cx="3490258" cy="1354666"/>
        </a:xfrm>
        <a:prstGeom prst="trapezoid">
          <a:avLst>
            <a:gd name="adj" fmla="val 64412"/>
          </a:avLst>
        </a:prstGeom>
        <a:gradFill rotWithShape="0">
          <a:gsLst>
            <a:gs pos="0">
              <a:schemeClr val="accent4">
                <a:hueOff val="-3867764"/>
                <a:satOff val="-33333"/>
                <a:lumOff val="3791"/>
                <a:alphaOff val="0"/>
                <a:shade val="51000"/>
                <a:satMod val="130000"/>
              </a:schemeClr>
            </a:gs>
            <a:gs pos="80000">
              <a:schemeClr val="accent4">
                <a:hueOff val="-3867764"/>
                <a:satOff val="-33333"/>
                <a:lumOff val="3791"/>
                <a:alphaOff val="0"/>
                <a:shade val="93000"/>
                <a:satMod val="130000"/>
              </a:schemeClr>
            </a:gs>
            <a:gs pos="100000">
              <a:schemeClr val="accent4">
                <a:hueOff val="-3867764"/>
                <a:satOff val="-33333"/>
                <a:lumOff val="379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accent3">
                  <a:lumMod val="50000"/>
                </a:schemeClr>
              </a:solidFill>
            </a:rPr>
            <a:t>Data Engineering</a:t>
          </a:r>
          <a:endParaRPr lang="en-US" sz="1600" b="1" kern="1200" dirty="0">
            <a:solidFill>
              <a:schemeClr val="accent3">
                <a:lumMod val="50000"/>
              </a:schemeClr>
            </a:solidFill>
          </a:endParaRPr>
        </a:p>
      </dsp:txBody>
      <dsp:txXfrm>
        <a:off x="2355924" y="1354666"/>
        <a:ext cx="2268668" cy="1354666"/>
      </dsp:txXfrm>
    </dsp:sp>
    <dsp:sp modelId="{D2588213-C2E5-4653-86A6-AFDC3F8B1922}">
      <dsp:nvSpPr>
        <dsp:cNvPr id="0" name=""/>
        <dsp:cNvSpPr/>
      </dsp:nvSpPr>
      <dsp:spPr>
        <a:xfrm>
          <a:off x="872564" y="2709333"/>
          <a:ext cx="5235387" cy="1354666"/>
        </a:xfrm>
        <a:prstGeom prst="trapezoid">
          <a:avLst>
            <a:gd name="adj" fmla="val 64412"/>
          </a:avLst>
        </a:prstGeom>
        <a:gradFill rotWithShape="0">
          <a:gsLst>
            <a:gs pos="0">
              <a:schemeClr val="accent4">
                <a:hueOff val="-7735529"/>
                <a:satOff val="-66667"/>
                <a:lumOff val="7582"/>
                <a:alphaOff val="0"/>
                <a:shade val="51000"/>
                <a:satMod val="130000"/>
              </a:schemeClr>
            </a:gs>
            <a:gs pos="80000">
              <a:schemeClr val="accent4">
                <a:hueOff val="-7735529"/>
                <a:satOff val="-66667"/>
                <a:lumOff val="7582"/>
                <a:alphaOff val="0"/>
                <a:shade val="93000"/>
                <a:satMod val="130000"/>
              </a:schemeClr>
            </a:gs>
            <a:gs pos="100000">
              <a:schemeClr val="accent4">
                <a:hueOff val="-7735529"/>
                <a:satOff val="-66667"/>
                <a:lumOff val="7582"/>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accent3">
                  <a:lumMod val="50000"/>
                </a:schemeClr>
              </a:solidFill>
            </a:rPr>
            <a:t>Capability and Analytics Mapping</a:t>
          </a:r>
          <a:endParaRPr lang="en-US" sz="1600" b="1" kern="1200" dirty="0">
            <a:solidFill>
              <a:schemeClr val="accent3">
                <a:lumMod val="50000"/>
              </a:schemeClr>
            </a:solidFill>
          </a:endParaRPr>
        </a:p>
      </dsp:txBody>
      <dsp:txXfrm>
        <a:off x="1788757" y="2709333"/>
        <a:ext cx="3403002" cy="1354666"/>
      </dsp:txXfrm>
    </dsp:sp>
    <dsp:sp modelId="{84AA64F9-BE80-4099-8A2C-EF7C650115DF}">
      <dsp:nvSpPr>
        <dsp:cNvPr id="0" name=""/>
        <dsp:cNvSpPr/>
      </dsp:nvSpPr>
      <dsp:spPr>
        <a:xfrm>
          <a:off x="0" y="4064000"/>
          <a:ext cx="6980517" cy="1354666"/>
        </a:xfrm>
        <a:prstGeom prst="trapezoid">
          <a:avLst>
            <a:gd name="adj" fmla="val 64412"/>
          </a:avLst>
        </a:prstGeom>
        <a:gradFill rotWithShape="0">
          <a:gsLst>
            <a:gs pos="0">
              <a:schemeClr val="accent4">
                <a:hueOff val="-11603293"/>
                <a:satOff val="-100000"/>
                <a:lumOff val="11373"/>
                <a:alphaOff val="0"/>
                <a:shade val="51000"/>
                <a:satMod val="130000"/>
              </a:schemeClr>
            </a:gs>
            <a:gs pos="80000">
              <a:schemeClr val="accent4">
                <a:hueOff val="-11603293"/>
                <a:satOff val="-100000"/>
                <a:lumOff val="11373"/>
                <a:alphaOff val="0"/>
                <a:shade val="93000"/>
                <a:satMod val="130000"/>
              </a:schemeClr>
            </a:gs>
            <a:gs pos="100000">
              <a:schemeClr val="accent4">
                <a:hueOff val="-11603293"/>
                <a:satOff val="-100000"/>
                <a:lumOff val="1137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accent3">
                  <a:lumMod val="50000"/>
                </a:schemeClr>
              </a:solidFill>
            </a:rPr>
            <a:t>Operationalize and Make Ready for Production</a:t>
          </a:r>
        </a:p>
      </dsp:txBody>
      <dsp:txXfrm>
        <a:off x="1221590" y="4064000"/>
        <a:ext cx="4537336" cy="1354666"/>
      </dsp:txXfrm>
    </dsp:sp>
  </dsp:spTree>
</dsp:drawing>
</file>

<file path=ppt/diagrams/layout1.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22D2DA-578F-4772-9649-ED3A67CD7D71}" type="datetimeFigureOut">
              <a:rPr lang="en-US" smtClean="0"/>
              <a:t>1/2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249FCD-A9FA-4E9D-BD20-371DA895C422}" type="slidenum">
              <a:rPr lang="en-US" smtClean="0"/>
              <a:t>‹#›</a:t>
            </a:fld>
            <a:endParaRPr lang="en-US"/>
          </a:p>
        </p:txBody>
      </p:sp>
    </p:spTree>
    <p:extLst>
      <p:ext uri="{BB962C8B-B14F-4D97-AF65-F5344CB8AC3E}">
        <p14:creationId xmlns:p14="http://schemas.microsoft.com/office/powerpoint/2010/main" val="2911125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1</a:t>
            </a:fld>
            <a:endParaRPr lang="en-US" dirty="0">
              <a:solidFill>
                <a:srgbClr val="505050"/>
              </a:solidFill>
            </a:endParaRPr>
          </a:p>
        </p:txBody>
      </p:sp>
    </p:spTree>
    <p:extLst>
      <p:ext uri="{BB962C8B-B14F-4D97-AF65-F5344CB8AC3E}">
        <p14:creationId xmlns:p14="http://schemas.microsoft.com/office/powerpoint/2010/main" val="1868048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3</a:t>
            </a:fld>
            <a:endParaRPr lang="en-US" dirty="0">
              <a:solidFill>
                <a:srgbClr val="505050"/>
              </a:solidFill>
            </a:endParaRPr>
          </a:p>
        </p:txBody>
      </p:sp>
    </p:spTree>
    <p:extLst>
      <p:ext uri="{BB962C8B-B14F-4D97-AF65-F5344CB8AC3E}">
        <p14:creationId xmlns:p14="http://schemas.microsoft.com/office/powerpoint/2010/main" val="1667347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7249FCD-A9FA-4E9D-BD20-371DA895C422}"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553899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sz="1400" kern="0" dirty="0">
              <a:solidFill>
                <a:srgbClr val="505050"/>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47249FCD-A9FA-4E9D-BD20-371DA895C422}"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9303524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01F2B26-CF07-4E2A-A6D7-96B233C8EDA3}" type="slidenum">
              <a:rPr lang="en-US">
                <a:solidFill>
                  <a:srgbClr val="000000"/>
                </a:solidFill>
                <a:latin typeface="Segoe UI"/>
              </a:rPr>
              <a:pPr>
                <a:defRPr/>
              </a:pPr>
              <a:t>8</a:t>
            </a:fld>
            <a:endParaRPr lang="en-US" dirty="0">
              <a:solidFill>
                <a:srgbClr val="000000"/>
              </a:solidFill>
              <a:latin typeface="Segoe UI"/>
            </a:endParaRPr>
          </a:p>
        </p:txBody>
      </p:sp>
    </p:spTree>
    <p:extLst>
      <p:ext uri="{BB962C8B-B14F-4D97-AF65-F5344CB8AC3E}">
        <p14:creationId xmlns:p14="http://schemas.microsoft.com/office/powerpoint/2010/main" val="17821660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sz="1200" b="1" u="sng" dirty="0">
                <a:latin typeface="Arial" charset="0"/>
                <a:cs typeface="Arial" charset="0"/>
              </a:rPr>
              <a:t>Real Madrid</a:t>
            </a:r>
          </a:p>
          <a:p>
            <a:pPr lvl="0"/>
            <a:endParaRPr lang="en-CA" sz="1200" b="1" i="0" kern="1200" dirty="0">
              <a:solidFill>
                <a:schemeClr val="tx1"/>
              </a:solidFill>
              <a:effectLst/>
              <a:latin typeface="Segoe UI Light"/>
              <a:ea typeface="+mn-ea"/>
              <a:cs typeface="+mn-cs"/>
            </a:endParaRPr>
          </a:p>
          <a:p>
            <a:pPr marL="0" marR="0" indent="0" algn="l" defTabSz="932742" rtl="0" eaLnBrk="1" fontAlgn="auto" latinLnBrk="0" hangingPunct="1">
              <a:lnSpc>
                <a:spcPct val="90000"/>
              </a:lnSpc>
              <a:spcBef>
                <a:spcPct val="0"/>
              </a:spcBef>
              <a:spcAft>
                <a:spcPts val="340"/>
              </a:spcAft>
              <a:buClrTx/>
              <a:buSzTx/>
              <a:buFontTx/>
              <a:buNone/>
              <a:tabLst/>
              <a:defRPr/>
            </a:pPr>
            <a:r>
              <a:rPr lang="en-US" sz="1200" b="1" dirty="0">
                <a:latin typeface="Arial" charset="0"/>
                <a:cs typeface="Arial" charset="0"/>
              </a:rPr>
              <a:t>Links to case study:</a:t>
            </a:r>
            <a:r>
              <a:rPr lang="en-US" sz="1200" b="0" baseline="0" dirty="0">
                <a:latin typeface="Arial" charset="0"/>
                <a:cs typeface="Arial" charset="0"/>
              </a:rPr>
              <a:t>  </a:t>
            </a:r>
            <a:r>
              <a:rPr lang="en-US" altLang="ja-JP" sz="1200" kern="1200" dirty="0">
                <a:solidFill>
                  <a:schemeClr val="tx1"/>
                </a:solidFill>
                <a:effectLst/>
                <a:latin typeface="Segoe UI Light" pitchFamily="34" charset="0"/>
                <a:ea typeface="+mn-ea"/>
                <a:cs typeface="+mn-cs"/>
              </a:rPr>
              <a:t>http://aka.ms/realmadridstory</a:t>
            </a:r>
          </a:p>
          <a:p>
            <a:pPr>
              <a:spcBef>
                <a:spcPct val="0"/>
              </a:spcBef>
            </a:pPr>
            <a:endParaRPr lang="en-US" sz="1200" b="1" dirty="0">
              <a:latin typeface="Arial" charset="0"/>
              <a:cs typeface="Arial" charset="0"/>
            </a:endParaRPr>
          </a:p>
          <a:p>
            <a:pPr>
              <a:spcBef>
                <a:spcPct val="0"/>
              </a:spcBef>
            </a:pPr>
            <a:endParaRPr lang="en-US" sz="1200" b="1" dirty="0">
              <a:latin typeface="Arial" charset="0"/>
              <a:cs typeface="Arial" charset="0"/>
            </a:endParaRPr>
          </a:p>
          <a:p>
            <a:r>
              <a:rPr lang="en-US" sz="1200" b="1" dirty="0">
                <a:latin typeface="Arial" charset="0"/>
                <a:cs typeface="Arial" charset="0"/>
              </a:rPr>
              <a:t>Summary:</a:t>
            </a:r>
            <a:r>
              <a:rPr lang="en-US" sz="1200" b="1" baseline="0" dirty="0">
                <a:latin typeface="Arial" charset="0"/>
                <a:cs typeface="Arial" charset="0"/>
              </a:rPr>
              <a:t> </a:t>
            </a:r>
            <a:r>
              <a:rPr lang="en-US" altLang="ja-JP" sz="1200" kern="1200" dirty="0">
                <a:solidFill>
                  <a:schemeClr val="tx1"/>
                </a:solidFill>
                <a:effectLst/>
                <a:latin typeface="Segoe UI Light" pitchFamily="34" charset="0"/>
                <a:ea typeface="+mn-ea"/>
                <a:cs typeface="+mn-cs"/>
              </a:rPr>
              <a:t>As the leading sports franchise in the world, Real Madrid has a lot to brag about, including more than 100 championships and a passionate fan base. But what the football club didn’t have was a way to directly engage with its 450 million global supporters. That changed when it implemented a comprehensive technology solution based on the Microsoft Cloud platform. </a:t>
            </a:r>
          </a:p>
          <a:p>
            <a:endParaRPr lang="en-US" altLang="ja-JP" sz="1200" kern="1200" dirty="0">
              <a:solidFill>
                <a:schemeClr val="tx1"/>
              </a:solidFill>
              <a:effectLst/>
              <a:latin typeface="Segoe UI Light" pitchFamily="34" charset="0"/>
              <a:ea typeface="+mn-ea"/>
              <a:cs typeface="+mn-cs"/>
            </a:endParaRPr>
          </a:p>
          <a:p>
            <a:r>
              <a:rPr lang="en-US" altLang="ja-JP" sz="1200" kern="1200" dirty="0">
                <a:solidFill>
                  <a:schemeClr val="tx1"/>
                </a:solidFill>
                <a:effectLst/>
                <a:latin typeface="Segoe UI Light" pitchFamily="34" charset="0"/>
                <a:ea typeface="+mn-ea"/>
                <a:cs typeface="+mn-cs"/>
              </a:rPr>
              <a:t>Now, Real Madrid is able to connect more closely with its fans and give them a better overall experience, while analyzing social media data and other information to customize marketing campaigns and boost revenues.</a:t>
            </a:r>
          </a:p>
          <a:p>
            <a:endParaRPr lang="en-US" sz="1200" kern="1200" dirty="0">
              <a:solidFill>
                <a:schemeClr val="tx1"/>
              </a:solidFill>
              <a:effectLst/>
              <a:latin typeface="Segoe UI Light"/>
              <a:ea typeface="+mn-ea"/>
              <a:cs typeface="+mn-cs"/>
            </a:endParaRPr>
          </a:p>
          <a:p>
            <a:r>
              <a:rPr lang="en-US" sz="1200" b="1" dirty="0">
                <a:latin typeface="Arial" charset="0"/>
                <a:cs typeface="Arial" charset="0"/>
              </a:rPr>
              <a:t>Business and Technology Need: </a:t>
            </a:r>
            <a:r>
              <a:rPr lang="en-US" altLang="ja-JP" sz="1200" b="0" i="0" u="none" strike="noStrike" kern="1200" baseline="0" dirty="0">
                <a:solidFill>
                  <a:schemeClr val="tx1"/>
                </a:solidFill>
                <a:latin typeface="Segoe UI Light" pitchFamily="34" charset="0"/>
                <a:ea typeface="+mn-ea"/>
                <a:cs typeface="+mn-cs"/>
              </a:rPr>
              <a:t>Despite all its on-field success and ardent support, Real Madrid was still missing one thing: the ability to connect more closely with its fans. By engaging with its fans in more personal ways, Real Madrid wanted to increase revenue, customize marketing initiatives, and reinforce the club’s leadership position in the worldwide sports industry.</a:t>
            </a:r>
          </a:p>
          <a:p>
            <a:endParaRPr lang="en-US" sz="1200" b="1" dirty="0">
              <a:latin typeface="Arial" charset="0"/>
              <a:cs typeface="Arial" charset="0"/>
            </a:endParaRPr>
          </a:p>
          <a:p>
            <a:r>
              <a:rPr lang="en-US" sz="1200" b="1" dirty="0">
                <a:latin typeface="Arial" charset="0"/>
                <a:cs typeface="Arial" charset="0"/>
              </a:rPr>
              <a:t>Solution: </a:t>
            </a:r>
            <a:r>
              <a:rPr lang="en-US" altLang="ja-JP" sz="1200" kern="1200" dirty="0">
                <a:solidFill>
                  <a:schemeClr val="tx1"/>
                </a:solidFill>
                <a:effectLst/>
                <a:latin typeface="Segoe UI Light" pitchFamily="34" charset="0"/>
                <a:ea typeface="+mn-ea"/>
                <a:cs typeface="+mn-cs"/>
              </a:rPr>
              <a:t>Microsoft Services worked with Real Madrid to build a comprehensive platform-as-a-service solution, based on the Microsoft Cloud and Office 365 platform that combines with Azure to collect the data Real Madrid needs to create personalized fan experiences and thrive.</a:t>
            </a:r>
          </a:p>
          <a:p>
            <a:pPr lvl="0"/>
            <a:endParaRPr lang="en-US" sz="1200" b="1" dirty="0">
              <a:latin typeface="Arial" charset="0"/>
              <a:cs typeface="Arial" charset="0"/>
            </a:endParaRPr>
          </a:p>
          <a:p>
            <a:pPr marL="0" indent="0" defTabSz="914099" fontAlgn="base">
              <a:spcBef>
                <a:spcPts val="600"/>
              </a:spcBef>
              <a:spcAft>
                <a:spcPts val="600"/>
              </a:spcAft>
              <a:buClr>
                <a:schemeClr val="accent4">
                  <a:lumMod val="50000"/>
                </a:schemeClr>
              </a:buClr>
              <a:buSzPct val="100000"/>
              <a:buFont typeface="Arial" pitchFamily="34" charset="0"/>
              <a:buNone/>
            </a:pPr>
            <a:r>
              <a:rPr lang="en-US" sz="1200" b="1" dirty="0">
                <a:latin typeface="Arial" charset="0"/>
                <a:cs typeface="Arial" charset="0"/>
              </a:rPr>
              <a:t>Benefits:</a:t>
            </a:r>
          </a:p>
          <a:p>
            <a:pPr marL="171450" indent="-171450" defTabSz="914099" fontAlgn="base">
              <a:spcBef>
                <a:spcPts val="600"/>
              </a:spcBef>
              <a:spcAft>
                <a:spcPts val="600"/>
              </a:spcAft>
              <a:buClr>
                <a:schemeClr val="accent4">
                  <a:lumMod val="50000"/>
                </a:schemeClr>
              </a:buClr>
              <a:buSzPct val="100000"/>
              <a:buFont typeface="Arial" pitchFamily="34" charset="0"/>
              <a:buChar char="•"/>
            </a:pPr>
            <a:r>
              <a:rPr lang="en-US" sz="1200" dirty="0"/>
              <a:t>Providing the engagement fans crave and the ability to analyze their behavior</a:t>
            </a:r>
          </a:p>
          <a:p>
            <a:pPr marL="171450" indent="-171450" defTabSz="914099" fontAlgn="base">
              <a:spcBef>
                <a:spcPts val="600"/>
              </a:spcBef>
              <a:spcAft>
                <a:spcPts val="600"/>
              </a:spcAft>
              <a:buClr>
                <a:schemeClr val="accent4">
                  <a:lumMod val="50000"/>
                </a:schemeClr>
              </a:buClr>
              <a:buSzPct val="100000"/>
              <a:buFont typeface="Arial" pitchFamily="34" charset="0"/>
              <a:buChar char="•"/>
            </a:pPr>
            <a:r>
              <a:rPr lang="en-US" sz="1200" dirty="0"/>
              <a:t>Simplified social account and secure logins</a:t>
            </a:r>
          </a:p>
          <a:p>
            <a:pPr marL="171450" indent="-171450" defTabSz="914099" fontAlgn="base">
              <a:spcBef>
                <a:spcPts val="600"/>
              </a:spcBef>
              <a:spcAft>
                <a:spcPts val="600"/>
              </a:spcAft>
              <a:buClr>
                <a:schemeClr val="accent4">
                  <a:lumMod val="50000"/>
                </a:schemeClr>
              </a:buClr>
              <a:buSzPct val="100000"/>
              <a:buFont typeface="Arial" pitchFamily="34" charset="0"/>
              <a:buChar char="•"/>
            </a:pPr>
            <a:r>
              <a:rPr lang="en-US" sz="1200" dirty="0"/>
              <a:t>Mobile app available in iOS, Android and Windows</a:t>
            </a:r>
          </a:p>
          <a:p>
            <a:pPr marL="171450" indent="-171450" defTabSz="914099" fontAlgn="base">
              <a:spcBef>
                <a:spcPts val="600"/>
              </a:spcBef>
              <a:spcAft>
                <a:spcPts val="600"/>
              </a:spcAft>
              <a:buClr>
                <a:schemeClr val="accent4">
                  <a:lumMod val="50000"/>
                </a:schemeClr>
              </a:buClr>
              <a:buSzPct val="100000"/>
              <a:buFont typeface="Arial" pitchFamily="34" charset="0"/>
              <a:buChar char="•"/>
            </a:pPr>
            <a:r>
              <a:rPr lang="en-US" sz="1200" dirty="0"/>
              <a:t>Ability to collect, analyze and respond to social messages streaming in from social media like Twitter and Facebook</a:t>
            </a:r>
          </a:p>
          <a:p>
            <a:pPr marL="171450" indent="-171450" defTabSz="914099" fontAlgn="base">
              <a:spcBef>
                <a:spcPts val="600"/>
              </a:spcBef>
              <a:spcAft>
                <a:spcPts val="600"/>
              </a:spcAft>
              <a:buClr>
                <a:schemeClr val="accent4">
                  <a:lumMod val="50000"/>
                </a:schemeClr>
              </a:buClr>
              <a:buSzPct val="100000"/>
              <a:buFont typeface="Arial" pitchFamily="34" charset="0"/>
              <a:buChar char="•"/>
            </a:pPr>
            <a:r>
              <a:rPr lang="en-US" sz="1200" dirty="0"/>
              <a:t>Creating near-real-time marketing campaigns</a:t>
            </a:r>
          </a:p>
          <a:p>
            <a:pPr marL="171450" indent="-171450" defTabSz="914099" fontAlgn="base">
              <a:spcBef>
                <a:spcPts val="600"/>
              </a:spcBef>
              <a:spcAft>
                <a:spcPts val="600"/>
              </a:spcAft>
              <a:buClr>
                <a:schemeClr val="accent4">
                  <a:lumMod val="50000"/>
                </a:schemeClr>
              </a:buClr>
              <a:buSzPct val="100000"/>
              <a:buFont typeface="Arial" pitchFamily="34" charset="0"/>
              <a:buChar char="•"/>
            </a:pPr>
            <a:endParaRPr lang="en-US" sz="1200" dirty="0"/>
          </a:p>
          <a:p>
            <a:pPr marL="171450" indent="-171450" defTabSz="914099" fontAlgn="base">
              <a:spcBef>
                <a:spcPts val="600"/>
              </a:spcBef>
              <a:spcAft>
                <a:spcPts val="600"/>
              </a:spcAft>
              <a:buClr>
                <a:schemeClr val="accent4">
                  <a:lumMod val="50000"/>
                </a:schemeClr>
              </a:buClr>
              <a:buSzPct val="100000"/>
              <a:buFont typeface="Arial" pitchFamily="34" charset="0"/>
              <a:buChar char="•"/>
            </a:pPr>
            <a:endParaRPr lang="en-US" sz="1200" dirty="0"/>
          </a:p>
          <a:p>
            <a:pPr marL="0" indent="0" defTabSz="914099" fontAlgn="base">
              <a:spcBef>
                <a:spcPts val="600"/>
              </a:spcBef>
              <a:spcAft>
                <a:spcPts val="600"/>
              </a:spcAft>
              <a:buClr>
                <a:schemeClr val="accent4">
                  <a:lumMod val="50000"/>
                </a:schemeClr>
              </a:buClr>
              <a:buSzPct val="10000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47249FCD-A9FA-4E9D-BD20-371DA895C422}"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40728585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4598619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86746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92076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27663208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293262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2" name="Title 1"/>
          <p:cNvSpPr>
            <a:spLocks noGrp="1"/>
          </p:cNvSpPr>
          <p:nvPr>
            <p:ph type="title"/>
          </p:nvPr>
        </p:nvSpPr>
        <p:spPr>
          <a:xfrm>
            <a:off x="357282" y="150859"/>
            <a:ext cx="11474263" cy="701731"/>
          </a:xfrm>
        </p:spPr>
        <p:txBody>
          <a:bodyPr>
            <a:spAutoFit/>
          </a:bodyPr>
          <a:lstStyle/>
          <a:p>
            <a:r>
              <a:rPr lang="en-US" dirty="0"/>
              <a:t>Click to edit Master title style</a:t>
            </a:r>
          </a:p>
        </p:txBody>
      </p:sp>
      <p:sp>
        <p:nvSpPr>
          <p:cNvPr id="4" name="Slide Number Placeholder 8"/>
          <p:cNvSpPr>
            <a:spLocks noGrp="1"/>
          </p:cNvSpPr>
          <p:nvPr>
            <p:ph type="sldNum" sz="quarter" idx="4"/>
          </p:nvPr>
        </p:nvSpPr>
        <p:spPr>
          <a:xfrm>
            <a:off x="357281" y="6356351"/>
            <a:ext cx="443027" cy="365125"/>
          </a:xfrm>
          <a:prstGeom prst="rect">
            <a:avLst/>
          </a:prstGeom>
        </p:spPr>
        <p:txBody>
          <a:bodyPr vert="horz" lIns="91440" tIns="45720" rIns="91440" bIns="45720" rtlCol="0" anchor="ctr"/>
          <a:lstStyle>
            <a:lvl1pPr algn="l">
              <a:defRPr sz="1000">
                <a:solidFill>
                  <a:schemeClr val="tx1">
                    <a:lumMod val="75000"/>
                    <a:lumOff val="25000"/>
                  </a:schemeClr>
                </a:solidFill>
                <a:latin typeface="+mn-lt"/>
                <a:cs typeface="Segoe UI" panose="020B0502040204020203" pitchFamily="34" charset="0"/>
              </a:defRPr>
            </a:lvl1pPr>
          </a:lstStyle>
          <a:p>
            <a:pPr fontAlgn="base">
              <a:spcBef>
                <a:spcPct val="0"/>
              </a:spcBef>
              <a:spcAft>
                <a:spcPct val="0"/>
              </a:spcAft>
            </a:pPr>
            <a:fld id="{F72EC68D-02FE-4865-844A-4A72BFA943BC}" type="slidenum">
              <a:rPr lang="en-IN" smtClean="0">
                <a:solidFill>
                  <a:srgbClr val="000000">
                    <a:lumMod val="75000"/>
                    <a:lumOff val="25000"/>
                  </a:srgbClr>
                </a:solidFill>
              </a:rPr>
              <a:pPr fontAlgn="base">
                <a:spcBef>
                  <a:spcPct val="0"/>
                </a:spcBef>
                <a:spcAft>
                  <a:spcPct val="0"/>
                </a:spcAft>
              </a:pPr>
              <a:t>‹#›</a:t>
            </a:fld>
            <a:endParaRPr lang="en-IN" dirty="0">
              <a:solidFill>
                <a:srgbClr val="000000">
                  <a:lumMod val="75000"/>
                  <a:lumOff val="25000"/>
                </a:srgbClr>
              </a:solidFill>
            </a:endParaRPr>
          </a:p>
        </p:txBody>
      </p:sp>
    </p:spTree>
    <p:extLst>
      <p:ext uri="{BB962C8B-B14F-4D97-AF65-F5344CB8AC3E}">
        <p14:creationId xmlns:p14="http://schemas.microsoft.com/office/powerpoint/2010/main" val="560093371"/>
      </p:ext>
    </p:extLst>
  </p:cSld>
  <p:clrMapOvr>
    <a:masterClrMapping/>
  </p:clrMapOvr>
  <p:extLst mod="1">
    <p:ext uri="{DCECCB84-F9BA-43D5-87BE-67443E8EF086}">
      <p15:sldGuideLst xmlns:p15="http://schemas.microsoft.com/office/powerpoint/2012/main">
        <p15:guide id="2" pos="7440">
          <p15:clr>
            <a:srgbClr val="FBAE40"/>
          </p15:clr>
        </p15:guide>
        <p15:guide id="3" pos="240">
          <p15:clr>
            <a:srgbClr val="FBAE40"/>
          </p15:clr>
        </p15:guide>
        <p15:guide id="4" orient="horz" pos="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02632495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28341596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7739203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807049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647913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642822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515806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23569866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72321601"/>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83" r:id="rId12"/>
    <p:sldLayoutId id="2147483784" r:id="rId13"/>
    <p:sldLayoutId id="2147483786" r:id="rId14"/>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8.jpeg"/><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6.xml"/><Relationship Id="rId7"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19.jpeg"/></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4.xml"/><Relationship Id="rId7" Type="http://schemas.openxmlformats.org/officeDocument/2006/relationships/diagramData" Target="../diagrams/data2.xml"/><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7.emf"/><Relationship Id="rId11" Type="http://schemas.microsoft.com/office/2007/relationships/diagramDrawing" Target="../diagrams/drawing2.xml"/><Relationship Id="rId5" Type="http://schemas.openxmlformats.org/officeDocument/2006/relationships/oleObject" Target="../embeddings/oleObject4.bin"/><Relationship Id="rId10" Type="http://schemas.openxmlformats.org/officeDocument/2006/relationships/diagramColors" Target="../diagrams/colors2.xml"/><Relationship Id="rId4" Type="http://schemas.openxmlformats.org/officeDocument/2006/relationships/notesSlide" Target="../notesSlides/notesSlide5.xml"/><Relationship Id="rId9"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3177" y="1589"/>
                        <a:ext cx="1587" cy="1587"/>
                      </a:xfrm>
                      <a:prstGeom prst="rect">
                        <a:avLst/>
                      </a:prstGeom>
                    </p:spPr>
                  </p:pic>
                </p:oleObj>
              </mc:Fallback>
            </mc:AlternateContent>
          </a:graphicData>
        </a:graphic>
      </p:graphicFrame>
      <p:grpSp>
        <p:nvGrpSpPr>
          <p:cNvPr id="852" name="Group 851"/>
          <p:cNvGrpSpPr/>
          <p:nvPr/>
        </p:nvGrpSpPr>
        <p:grpSpPr>
          <a:xfrm>
            <a:off x="8480045" y="937160"/>
            <a:ext cx="1791196" cy="1791192"/>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z="2200" spc="-122" dirty="0">
                <a:solidFill>
                  <a:srgbClr val="505050">
                    <a:lumMod val="50000"/>
                  </a:srgbClr>
                </a:solidFill>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z="2200" spc="-122" dirty="0">
                <a:solidFill>
                  <a:srgbClr val="505050">
                    <a:lumMod val="50000"/>
                  </a:srgbClr>
                </a:solidFill>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1440" tIns="45720" rIns="91440" bIns="45720" numCol="1" anchor="t" anchorCtr="0" compatLnSpc="1">
              <a:prstTxWarp prst="textNoShape">
                <a:avLst/>
              </a:prstTxWarp>
            </a:bodyPr>
            <a:lstStyle/>
            <a:p>
              <a:pPr defTabSz="1218939"/>
              <a:endParaRPr lang="en-US" sz="2300" kern="0" dirty="0">
                <a:ln>
                  <a:solidFill>
                    <a:srgbClr val="505050">
                      <a:alpha val="0"/>
                    </a:srgbClr>
                  </a:solidFill>
                </a:ln>
                <a:solidFill>
                  <a:srgbClr val="000000"/>
                </a:solidFill>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1440" tIns="45720" rIns="91440" bIns="45720" numCol="1" anchor="t" anchorCtr="0" compatLnSpc="1">
              <a:prstTxWarp prst="textNoShape">
                <a:avLst/>
              </a:prstTxWarp>
            </a:bodyPr>
            <a:lstStyle/>
            <a:p>
              <a:pPr defTabSz="1218939"/>
              <a:endParaRPr lang="en-US" sz="2300" kern="0" dirty="0">
                <a:ln>
                  <a:solidFill>
                    <a:srgbClr val="505050">
                      <a:alpha val="0"/>
                    </a:srgbClr>
                  </a:solidFill>
                </a:ln>
                <a:solidFill>
                  <a:srgbClr val="000000"/>
                </a:solidFill>
              </a:endParaRPr>
            </a:p>
          </p:txBody>
        </p:sp>
      </p:grpSp>
      <p:sp>
        <p:nvSpPr>
          <p:cNvPr id="831" name="Freeform 830"/>
          <p:cNvSpPr/>
          <p:nvPr/>
        </p:nvSpPr>
        <p:spPr>
          <a:xfrm rot="18900000">
            <a:off x="2247362" y="2901538"/>
            <a:ext cx="196850" cy="751190"/>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2" name="Freeform 831"/>
          <p:cNvSpPr/>
          <p:nvPr/>
        </p:nvSpPr>
        <p:spPr>
          <a:xfrm rot="18900000">
            <a:off x="2365892" y="2709003"/>
            <a:ext cx="317500" cy="1089859"/>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3" name="Freeform 832"/>
          <p:cNvSpPr/>
          <p:nvPr/>
        </p:nvSpPr>
        <p:spPr>
          <a:xfrm rot="18900000">
            <a:off x="2402854" y="2672778"/>
            <a:ext cx="400050" cy="1255922"/>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4" name="Freeform 833"/>
          <p:cNvSpPr/>
          <p:nvPr/>
        </p:nvSpPr>
        <p:spPr>
          <a:xfrm rot="18900000">
            <a:off x="2460286" y="2603892"/>
            <a:ext cx="298450" cy="106571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5" name="Freeform 834"/>
          <p:cNvSpPr/>
          <p:nvPr/>
        </p:nvSpPr>
        <p:spPr>
          <a:xfrm rot="18900000">
            <a:off x="2557564" y="2535981"/>
            <a:ext cx="310735" cy="123716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6" name="Freeform 835"/>
          <p:cNvSpPr/>
          <p:nvPr/>
        </p:nvSpPr>
        <p:spPr>
          <a:xfrm rot="18900000">
            <a:off x="2525609" y="2512139"/>
            <a:ext cx="301625" cy="101933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7" name="Freeform 836"/>
          <p:cNvSpPr/>
          <p:nvPr/>
        </p:nvSpPr>
        <p:spPr>
          <a:xfrm rot="18900000">
            <a:off x="2652664" y="2405480"/>
            <a:ext cx="301778" cy="126535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42" name="Freeform 841"/>
          <p:cNvSpPr/>
          <p:nvPr/>
        </p:nvSpPr>
        <p:spPr>
          <a:xfrm rot="18900000">
            <a:off x="2651643" y="2230656"/>
            <a:ext cx="519112" cy="119853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58" name="Freeform 457"/>
          <p:cNvSpPr/>
          <p:nvPr/>
        </p:nvSpPr>
        <p:spPr>
          <a:xfrm rot="8100000" flipV="1">
            <a:off x="4189564" y="-468324"/>
            <a:ext cx="819150" cy="3028950"/>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59" name="Freeform 458"/>
          <p:cNvSpPr/>
          <p:nvPr/>
        </p:nvSpPr>
        <p:spPr>
          <a:xfrm rot="8100000" flipV="1">
            <a:off x="3462867" y="-105732"/>
            <a:ext cx="768350" cy="1104900"/>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0" name="Freeform 459"/>
          <p:cNvSpPr/>
          <p:nvPr/>
        </p:nvSpPr>
        <p:spPr>
          <a:xfrm rot="8100000" flipV="1">
            <a:off x="2854925" y="-240953"/>
            <a:ext cx="1275656" cy="1716009"/>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1" name="Freeform 460"/>
          <p:cNvSpPr/>
          <p:nvPr/>
        </p:nvSpPr>
        <p:spPr>
          <a:xfrm rot="8100000" flipV="1">
            <a:off x="3418992" y="-290497"/>
            <a:ext cx="1309003" cy="3306948"/>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2" name="Freeform 461"/>
          <p:cNvSpPr/>
          <p:nvPr/>
        </p:nvSpPr>
        <p:spPr>
          <a:xfrm rot="8100000" flipV="1">
            <a:off x="5927008" y="2154747"/>
            <a:ext cx="1153178" cy="1348441"/>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3" name="Freeform 462"/>
          <p:cNvSpPr/>
          <p:nvPr/>
        </p:nvSpPr>
        <p:spPr>
          <a:xfrm rot="8100000" flipV="1">
            <a:off x="2492697" y="869132"/>
            <a:ext cx="1559508" cy="1064460"/>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4" name="Freeform 463"/>
          <p:cNvSpPr/>
          <p:nvPr/>
        </p:nvSpPr>
        <p:spPr>
          <a:xfrm rot="8100000" flipV="1">
            <a:off x="2635143" y="926798"/>
            <a:ext cx="1487591" cy="1397158"/>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5" name="Freeform 464"/>
          <p:cNvSpPr/>
          <p:nvPr/>
        </p:nvSpPr>
        <p:spPr>
          <a:xfrm rot="8100000" flipV="1">
            <a:off x="2711752" y="1116369"/>
            <a:ext cx="1473164" cy="1405808"/>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6" name="Freeform 465"/>
          <p:cNvSpPr/>
          <p:nvPr/>
        </p:nvSpPr>
        <p:spPr>
          <a:xfrm rot="8100000" flipV="1">
            <a:off x="3014853" y="562824"/>
            <a:ext cx="2644417" cy="2748252"/>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7" name="Freeform 466"/>
          <p:cNvSpPr/>
          <p:nvPr/>
        </p:nvSpPr>
        <p:spPr>
          <a:xfrm rot="8100000" flipV="1">
            <a:off x="3056365" y="614600"/>
            <a:ext cx="2564892" cy="2827340"/>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8" name="Freeform 467"/>
          <p:cNvSpPr/>
          <p:nvPr/>
        </p:nvSpPr>
        <p:spPr>
          <a:xfrm rot="8100000" flipV="1">
            <a:off x="3084664" y="682781"/>
            <a:ext cx="2487198" cy="2894060"/>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9" name="Freeform 468"/>
          <p:cNvSpPr/>
          <p:nvPr/>
        </p:nvSpPr>
        <p:spPr>
          <a:xfrm rot="8100000" flipV="1">
            <a:off x="2973432" y="1043470"/>
            <a:ext cx="1835312" cy="2248812"/>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70" name="Freeform 469"/>
          <p:cNvSpPr/>
          <p:nvPr/>
        </p:nvSpPr>
        <p:spPr>
          <a:xfrm rot="8100000" flipV="1">
            <a:off x="2921699" y="1173298"/>
            <a:ext cx="1670935" cy="206807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72" name="Freeform 471"/>
          <p:cNvSpPr/>
          <p:nvPr/>
        </p:nvSpPr>
        <p:spPr>
          <a:xfrm>
            <a:off x="9274176" y="1422401"/>
            <a:ext cx="2919412" cy="2524125"/>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000" dirty="0">
              <a:solidFill>
                <a:prstClr val="white"/>
              </a:solidFill>
            </a:endParaRPr>
          </a:p>
        </p:txBody>
      </p:sp>
      <p:sp>
        <p:nvSpPr>
          <p:cNvPr id="477" name="Freeform 476"/>
          <p:cNvSpPr/>
          <p:nvPr/>
        </p:nvSpPr>
        <p:spPr>
          <a:xfrm>
            <a:off x="9436102" y="2389189"/>
            <a:ext cx="2757487" cy="1595437"/>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000" dirty="0">
              <a:solidFill>
                <a:prstClr val="white"/>
              </a:solidFill>
            </a:endParaRPr>
          </a:p>
        </p:txBody>
      </p:sp>
      <p:sp>
        <p:nvSpPr>
          <p:cNvPr id="478" name="Freeform 477"/>
          <p:cNvSpPr/>
          <p:nvPr/>
        </p:nvSpPr>
        <p:spPr>
          <a:xfrm>
            <a:off x="9659939" y="2470151"/>
            <a:ext cx="2524125" cy="1681163"/>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000" dirty="0">
              <a:solidFill>
                <a:prstClr val="white"/>
              </a:solidFill>
            </a:endParaRPr>
          </a:p>
        </p:txBody>
      </p:sp>
      <p:sp>
        <p:nvSpPr>
          <p:cNvPr id="675" name="Freeform 674"/>
          <p:cNvSpPr/>
          <p:nvPr/>
        </p:nvSpPr>
        <p:spPr>
          <a:xfrm>
            <a:off x="9736139" y="3260725"/>
            <a:ext cx="2462213" cy="1581150"/>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676" name="Freeform 675"/>
          <p:cNvSpPr/>
          <p:nvPr/>
        </p:nvSpPr>
        <p:spPr>
          <a:xfrm>
            <a:off x="8561388" y="3841750"/>
            <a:ext cx="3644900" cy="2628900"/>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677" name="Freeform 676"/>
          <p:cNvSpPr/>
          <p:nvPr/>
        </p:nvSpPr>
        <p:spPr>
          <a:xfrm>
            <a:off x="8485188" y="3905250"/>
            <a:ext cx="3714750" cy="2781300"/>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grpSp>
        <p:nvGrpSpPr>
          <p:cNvPr id="678" name="Group 677"/>
          <p:cNvGrpSpPr/>
          <p:nvPr/>
        </p:nvGrpSpPr>
        <p:grpSpPr>
          <a:xfrm flipV="1">
            <a:off x="5143588" y="12700"/>
            <a:ext cx="2901950" cy="2216150"/>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grpSp>
      <p:sp>
        <p:nvSpPr>
          <p:cNvPr id="679" name="Freeform 678"/>
          <p:cNvSpPr/>
          <p:nvPr/>
        </p:nvSpPr>
        <p:spPr>
          <a:xfrm>
            <a:off x="10460038" y="4121150"/>
            <a:ext cx="1727200" cy="977900"/>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681" name="Freeform 680"/>
          <p:cNvSpPr/>
          <p:nvPr/>
        </p:nvSpPr>
        <p:spPr>
          <a:xfrm>
            <a:off x="7431088" y="4273550"/>
            <a:ext cx="2597150" cy="2616200"/>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682" name="Freeform 681"/>
          <p:cNvSpPr/>
          <p:nvPr/>
        </p:nvSpPr>
        <p:spPr>
          <a:xfrm>
            <a:off x="7005638" y="4394200"/>
            <a:ext cx="2546350" cy="2463800"/>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683" name="Freeform 682"/>
          <p:cNvSpPr/>
          <p:nvPr/>
        </p:nvSpPr>
        <p:spPr>
          <a:xfrm>
            <a:off x="6865938" y="4273550"/>
            <a:ext cx="2971800" cy="2597150"/>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28" name="Freeform 727"/>
          <p:cNvSpPr/>
          <p:nvPr/>
        </p:nvSpPr>
        <p:spPr>
          <a:xfrm rot="8100000" flipH="1" flipV="1">
            <a:off x="5299032" y="3340640"/>
            <a:ext cx="2384108" cy="2272261"/>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76" name="Freeform 775"/>
          <p:cNvSpPr/>
          <p:nvPr/>
        </p:nvSpPr>
        <p:spPr>
          <a:xfrm>
            <a:off x="2328319" y="2537759"/>
            <a:ext cx="2578769" cy="1294598"/>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77" name="Freeform 776"/>
          <p:cNvSpPr/>
          <p:nvPr/>
        </p:nvSpPr>
        <p:spPr>
          <a:xfrm>
            <a:off x="2408720" y="127000"/>
            <a:ext cx="3231668" cy="1386840"/>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80" name="Freeform 779"/>
          <p:cNvSpPr/>
          <p:nvPr/>
        </p:nvSpPr>
        <p:spPr>
          <a:xfrm>
            <a:off x="2425406" y="2179638"/>
            <a:ext cx="2510132" cy="342900"/>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84" name="Freeform 783"/>
          <p:cNvSpPr/>
          <p:nvPr/>
        </p:nvSpPr>
        <p:spPr>
          <a:xfrm>
            <a:off x="6421639" y="2669273"/>
            <a:ext cx="2916454" cy="4215864"/>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85" name="Freeform 784"/>
          <p:cNvSpPr/>
          <p:nvPr/>
        </p:nvSpPr>
        <p:spPr>
          <a:xfrm>
            <a:off x="8750952" y="2650023"/>
            <a:ext cx="134754" cy="2021305"/>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2" name="Freeform 801"/>
          <p:cNvSpPr/>
          <p:nvPr/>
        </p:nvSpPr>
        <p:spPr>
          <a:xfrm>
            <a:off x="2263776" y="1274763"/>
            <a:ext cx="723900" cy="176212"/>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3" name="Freeform 802"/>
          <p:cNvSpPr/>
          <p:nvPr/>
        </p:nvSpPr>
        <p:spPr>
          <a:xfrm>
            <a:off x="2296395" y="1284288"/>
            <a:ext cx="938213" cy="214312"/>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4" name="Freeform 803"/>
          <p:cNvSpPr/>
          <p:nvPr/>
        </p:nvSpPr>
        <p:spPr>
          <a:xfrm>
            <a:off x="3402014" y="1112838"/>
            <a:ext cx="671513" cy="3667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5" name="Freeform 804"/>
          <p:cNvSpPr/>
          <p:nvPr/>
        </p:nvSpPr>
        <p:spPr>
          <a:xfrm>
            <a:off x="8240814" y="2226511"/>
            <a:ext cx="433137" cy="1097280"/>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6" name="Freeform 805"/>
          <p:cNvSpPr/>
          <p:nvPr/>
        </p:nvSpPr>
        <p:spPr>
          <a:xfrm>
            <a:off x="8221563" y="3651049"/>
            <a:ext cx="385010" cy="1078030"/>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7" name="Freeform 806"/>
          <p:cNvSpPr/>
          <p:nvPr/>
        </p:nvSpPr>
        <p:spPr>
          <a:xfrm>
            <a:off x="8240814" y="3959059"/>
            <a:ext cx="231007"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8" name="Freeform 807"/>
          <p:cNvSpPr/>
          <p:nvPr/>
        </p:nvSpPr>
        <p:spPr>
          <a:xfrm>
            <a:off x="611188" y="3644900"/>
            <a:ext cx="6426200" cy="323850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9" name="Freeform 808"/>
          <p:cNvSpPr/>
          <p:nvPr/>
        </p:nvSpPr>
        <p:spPr>
          <a:xfrm>
            <a:off x="763588" y="3975100"/>
            <a:ext cx="6261100" cy="2895600"/>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1" name="Freeform 810"/>
          <p:cNvSpPr/>
          <p:nvPr/>
        </p:nvSpPr>
        <p:spPr>
          <a:xfrm>
            <a:off x="1068388" y="4318000"/>
            <a:ext cx="6896100" cy="2540000"/>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2" name="Freeform 811"/>
          <p:cNvSpPr/>
          <p:nvPr/>
        </p:nvSpPr>
        <p:spPr>
          <a:xfrm>
            <a:off x="6923088" y="4241800"/>
            <a:ext cx="723900" cy="1651000"/>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3" name="Freeform 812"/>
          <p:cNvSpPr/>
          <p:nvPr/>
        </p:nvSpPr>
        <p:spPr>
          <a:xfrm>
            <a:off x="7024688" y="4241800"/>
            <a:ext cx="330200" cy="1181100"/>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4" name="Freeform 813"/>
          <p:cNvSpPr/>
          <p:nvPr/>
        </p:nvSpPr>
        <p:spPr>
          <a:xfrm>
            <a:off x="6797024" y="2274638"/>
            <a:ext cx="856648" cy="798897"/>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5" name="Freeform 814"/>
          <p:cNvSpPr/>
          <p:nvPr/>
        </p:nvSpPr>
        <p:spPr>
          <a:xfrm>
            <a:off x="6797025" y="2120633"/>
            <a:ext cx="1135781" cy="91440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6" name="Freeform 815"/>
          <p:cNvSpPr/>
          <p:nvPr/>
        </p:nvSpPr>
        <p:spPr>
          <a:xfrm>
            <a:off x="6787399" y="1976254"/>
            <a:ext cx="510138"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8" name="Freeform 817"/>
          <p:cNvSpPr/>
          <p:nvPr/>
        </p:nvSpPr>
        <p:spPr>
          <a:xfrm>
            <a:off x="9336088" y="523240"/>
            <a:ext cx="1059180" cy="419100"/>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000" dirty="0">
              <a:solidFill>
                <a:prstClr val="white"/>
              </a:solidFill>
            </a:endParaRPr>
          </a:p>
        </p:txBody>
      </p:sp>
      <p:sp>
        <p:nvSpPr>
          <p:cNvPr id="819" name="Freeform 818"/>
          <p:cNvSpPr/>
          <p:nvPr/>
        </p:nvSpPr>
        <p:spPr>
          <a:xfrm>
            <a:off x="8932228" y="340360"/>
            <a:ext cx="1455420" cy="58674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grpSp>
        <p:nvGrpSpPr>
          <p:cNvPr id="1157" name="Group 1156"/>
          <p:cNvGrpSpPr/>
          <p:nvPr/>
        </p:nvGrpSpPr>
        <p:grpSpPr>
          <a:xfrm>
            <a:off x="7011121" y="3018642"/>
            <a:ext cx="1243820" cy="1243814"/>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8105"/>
              <a:endParaRPr lang="en-US" sz="2200" dirty="0">
                <a:solidFill>
                  <a:prstClr val="white"/>
                </a:solidFill>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1400" dirty="0">
                  <a:solidFill>
                    <a:prstClr val="white"/>
                  </a:solidFill>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088105"/>
                <a:endParaRPr lang="en-US" sz="1400" dirty="0">
                  <a:solidFill>
                    <a:prstClr val="white"/>
                  </a:solidFill>
                </a:endParaRPr>
              </a:p>
            </p:txBody>
          </p:sp>
        </p:grpSp>
      </p:grpSp>
      <p:sp>
        <p:nvSpPr>
          <p:cNvPr id="448" name="Freeform 447"/>
          <p:cNvSpPr/>
          <p:nvPr/>
        </p:nvSpPr>
        <p:spPr>
          <a:xfrm>
            <a:off x="753869" y="5138367"/>
            <a:ext cx="2498446" cy="164507"/>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89" name="Freeform 788"/>
          <p:cNvSpPr/>
          <p:nvPr/>
        </p:nvSpPr>
        <p:spPr>
          <a:xfrm>
            <a:off x="10183882" y="4851338"/>
            <a:ext cx="271697" cy="391563"/>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90" name="Freeform 789"/>
          <p:cNvSpPr/>
          <p:nvPr/>
        </p:nvSpPr>
        <p:spPr>
          <a:xfrm>
            <a:off x="10887097" y="5003167"/>
            <a:ext cx="159822" cy="26370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91" name="Freeform 790"/>
          <p:cNvSpPr/>
          <p:nvPr/>
        </p:nvSpPr>
        <p:spPr>
          <a:xfrm>
            <a:off x="9184995" y="5602499"/>
            <a:ext cx="663260" cy="807100"/>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grpSp>
        <p:nvGrpSpPr>
          <p:cNvPr id="7" name="Group 6"/>
          <p:cNvGrpSpPr/>
          <p:nvPr/>
        </p:nvGrpSpPr>
        <p:grpSpPr>
          <a:xfrm>
            <a:off x="332715" y="1126909"/>
            <a:ext cx="3856602" cy="2026356"/>
            <a:chOff x="8223607" y="6992914"/>
            <a:chExt cx="3856602" cy="2026356"/>
          </a:xfrm>
        </p:grpSpPr>
        <p:sp>
          <p:nvSpPr>
            <p:cNvPr id="800" name="Freeform 799"/>
            <p:cNvSpPr/>
            <p:nvPr/>
          </p:nvSpPr>
          <p:spPr>
            <a:xfrm>
              <a:off x="9639804" y="8133815"/>
              <a:ext cx="119866" cy="0"/>
            </a:xfrm>
            <a:custGeom>
              <a:avLst/>
              <a:gdLst>
                <a:gd name="connsiteX0" fmla="*/ 114300 w 114300"/>
                <a:gd name="connsiteY0" fmla="*/ 0 h 0"/>
                <a:gd name="connsiteX1" fmla="*/ 0 w 114300"/>
                <a:gd name="connsiteY1" fmla="*/ 0 h 0"/>
              </a:gdLst>
              <a:ahLst/>
              <a:cxnLst>
                <a:cxn ang="0">
                  <a:pos x="connsiteX0" y="connsiteY0"/>
                </a:cxn>
                <a:cxn ang="0">
                  <a:pos x="connsiteX1" y="connsiteY1"/>
                </a:cxn>
              </a:cxnLst>
              <a:rect l="l" t="t" r="r" b="b"/>
              <a:pathLst>
                <a:path w="114300">
                  <a:moveTo>
                    <a:pt x="114300" y="0"/>
                  </a:moveTo>
                  <a:lnTo>
                    <a:pt x="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grpSp>
          <p:nvGrpSpPr>
            <p:cNvPr id="37" name="Group 36"/>
            <p:cNvGrpSpPr/>
            <p:nvPr/>
          </p:nvGrpSpPr>
          <p:grpSpPr>
            <a:xfrm>
              <a:off x="8223607" y="6992914"/>
              <a:ext cx="1772655" cy="2026354"/>
              <a:chOff x="8344384" y="4680114"/>
              <a:chExt cx="1690338" cy="1945226"/>
            </a:xfrm>
          </p:grpSpPr>
          <p:sp>
            <p:nvSpPr>
              <p:cNvPr id="593" name="Rectangle 592"/>
              <p:cNvSpPr/>
              <p:nvPr/>
            </p:nvSpPr>
            <p:spPr>
              <a:xfrm>
                <a:off x="8344384" y="4680114"/>
                <a:ext cx="1690338" cy="19452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grpSp>
            <p:nvGrpSpPr>
              <p:cNvPr id="594" name="Group 593"/>
              <p:cNvGrpSpPr/>
              <p:nvPr/>
            </p:nvGrpSpPr>
            <p:grpSpPr>
              <a:xfrm>
                <a:off x="8524510" y="5014730"/>
                <a:ext cx="1285242" cy="1279295"/>
                <a:chOff x="10028285" y="16223"/>
                <a:chExt cx="2145645" cy="2081343"/>
              </a:xfrm>
            </p:grpSpPr>
            <p:sp>
              <p:nvSpPr>
                <p:cNvPr id="595" name="Freeform 594"/>
                <p:cNvSpPr>
                  <a:spLocks/>
                </p:cNvSpPr>
                <p:nvPr/>
              </p:nvSpPr>
              <p:spPr bwMode="auto">
                <a:xfrm rot="5400000">
                  <a:off x="10396525" y="55967"/>
                  <a:ext cx="1408022" cy="2144502"/>
                </a:xfrm>
                <a:custGeom>
                  <a:avLst/>
                  <a:gdLst>
                    <a:gd name="connsiteX0" fmla="*/ 0 w 1408022"/>
                    <a:gd name="connsiteY0" fmla="*/ 5689 h 2144502"/>
                    <a:gd name="connsiteX1" fmla="*/ 37313 w 1408022"/>
                    <a:gd name="connsiteY1" fmla="*/ 0 h 2144502"/>
                    <a:gd name="connsiteX2" fmla="*/ 39508 w 1408022"/>
                    <a:gd name="connsiteY2" fmla="*/ 113781 h 2144502"/>
                    <a:gd name="connsiteX3" fmla="*/ 68042 w 1408022"/>
                    <a:gd name="connsiteY3" fmla="*/ 270799 h 2144502"/>
                    <a:gd name="connsiteX4" fmla="*/ 199735 w 1408022"/>
                    <a:gd name="connsiteY4" fmla="*/ 309485 h 2144502"/>
                    <a:gd name="connsiteX5" fmla="*/ 567379 w 1408022"/>
                    <a:gd name="connsiteY5" fmla="*/ 309485 h 2144502"/>
                    <a:gd name="connsiteX6" fmla="*/ 911977 w 1408022"/>
                    <a:gd name="connsiteY6" fmla="*/ 508602 h 2144502"/>
                    <a:gd name="connsiteX7" fmla="*/ 911977 w 1408022"/>
                    <a:gd name="connsiteY7" fmla="*/ 512016 h 2144502"/>
                    <a:gd name="connsiteX8" fmla="*/ 913074 w 1408022"/>
                    <a:gd name="connsiteY8" fmla="*/ 629211 h 2144502"/>
                    <a:gd name="connsiteX9" fmla="*/ 962459 w 1408022"/>
                    <a:gd name="connsiteY9" fmla="*/ 880668 h 2144502"/>
                    <a:gd name="connsiteX10" fmla="*/ 1213774 w 1408022"/>
                    <a:gd name="connsiteY10" fmla="*/ 926180 h 2144502"/>
                    <a:gd name="connsiteX11" fmla="*/ 1402535 w 1408022"/>
                    <a:gd name="connsiteY11" fmla="*/ 1108230 h 2144502"/>
                    <a:gd name="connsiteX12" fmla="*/ 1408022 w 1408022"/>
                    <a:gd name="connsiteY12" fmla="*/ 1144640 h 2144502"/>
                    <a:gd name="connsiteX13" fmla="*/ 1408022 w 1408022"/>
                    <a:gd name="connsiteY13" fmla="*/ 1149192 h 2144502"/>
                    <a:gd name="connsiteX14" fmla="*/ 1403632 w 1408022"/>
                    <a:gd name="connsiteY14" fmla="*/ 1656657 h 2144502"/>
                    <a:gd name="connsiteX15" fmla="*/ 1403632 w 1408022"/>
                    <a:gd name="connsiteY15" fmla="*/ 1658932 h 2144502"/>
                    <a:gd name="connsiteX16" fmla="*/ 1181948 w 1408022"/>
                    <a:gd name="connsiteY16" fmla="*/ 1899011 h 2144502"/>
                    <a:gd name="connsiteX17" fmla="*/ 1178656 w 1408022"/>
                    <a:gd name="connsiteY17" fmla="*/ 1899011 h 2144502"/>
                    <a:gd name="connsiteX18" fmla="*/ 1030501 w 1408022"/>
                    <a:gd name="connsiteY18" fmla="*/ 1894460 h 2144502"/>
                    <a:gd name="connsiteX19" fmla="*/ 848325 w 1408022"/>
                    <a:gd name="connsiteY19" fmla="*/ 2053754 h 2144502"/>
                    <a:gd name="connsiteX20" fmla="*/ 847471 w 1408022"/>
                    <a:gd name="connsiteY20" fmla="*/ 2144502 h 2144502"/>
                    <a:gd name="connsiteX21" fmla="*/ 810158 w 1408022"/>
                    <a:gd name="connsiteY21" fmla="*/ 2144502 h 2144502"/>
                    <a:gd name="connsiteX22" fmla="*/ 810463 w 1408022"/>
                    <a:gd name="connsiteY22" fmla="*/ 2112067 h 2144502"/>
                    <a:gd name="connsiteX23" fmla="*/ 811012 w 1408022"/>
                    <a:gd name="connsiteY23" fmla="*/ 2053754 h 2144502"/>
                    <a:gd name="connsiteX24" fmla="*/ 811012 w 1408022"/>
                    <a:gd name="connsiteY24" fmla="*/ 2052616 h 2144502"/>
                    <a:gd name="connsiteX25" fmla="*/ 1028306 w 1408022"/>
                    <a:gd name="connsiteY25" fmla="*/ 1855774 h 2144502"/>
                    <a:gd name="connsiteX26" fmla="*/ 1030501 w 1408022"/>
                    <a:gd name="connsiteY26" fmla="*/ 1855774 h 2144502"/>
                    <a:gd name="connsiteX27" fmla="*/ 1178656 w 1408022"/>
                    <a:gd name="connsiteY27" fmla="*/ 1860325 h 2144502"/>
                    <a:gd name="connsiteX28" fmla="*/ 1366319 w 1408022"/>
                    <a:gd name="connsiteY28" fmla="*/ 1654381 h 2144502"/>
                    <a:gd name="connsiteX29" fmla="*/ 1370709 w 1408022"/>
                    <a:gd name="connsiteY29" fmla="*/ 1151467 h 2144502"/>
                    <a:gd name="connsiteX30" fmla="*/ 1365222 w 1408022"/>
                    <a:gd name="connsiteY30" fmla="*/ 1113919 h 2144502"/>
                    <a:gd name="connsiteX31" fmla="*/ 1217067 w 1408022"/>
                    <a:gd name="connsiteY31" fmla="*/ 964866 h 2144502"/>
                    <a:gd name="connsiteX32" fmla="*/ 937218 w 1408022"/>
                    <a:gd name="connsiteY32" fmla="*/ 909113 h 2144502"/>
                    <a:gd name="connsiteX33" fmla="*/ 875761 w 1408022"/>
                    <a:gd name="connsiteY33" fmla="*/ 628073 h 2144502"/>
                    <a:gd name="connsiteX34" fmla="*/ 874664 w 1408022"/>
                    <a:gd name="connsiteY34" fmla="*/ 515429 h 2144502"/>
                    <a:gd name="connsiteX35" fmla="*/ 569574 w 1408022"/>
                    <a:gd name="connsiteY35" fmla="*/ 348171 h 2144502"/>
                    <a:gd name="connsiteX36" fmla="*/ 568477 w 1408022"/>
                    <a:gd name="connsiteY36" fmla="*/ 348171 h 2144502"/>
                    <a:gd name="connsiteX37" fmla="*/ 199735 w 1408022"/>
                    <a:gd name="connsiteY37" fmla="*/ 348171 h 2144502"/>
                    <a:gd name="connsiteX38" fmla="*/ 40605 w 1408022"/>
                    <a:gd name="connsiteY38" fmla="*/ 296969 h 2144502"/>
                    <a:gd name="connsiteX39" fmla="*/ 2195 w 1408022"/>
                    <a:gd name="connsiteY39" fmla="*/ 112643 h 2144502"/>
                    <a:gd name="connsiteX40" fmla="*/ 0 w 1408022"/>
                    <a:gd name="connsiteY40" fmla="*/ 5689 h 214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08022" h="2144502">
                      <a:moveTo>
                        <a:pt x="0" y="5689"/>
                      </a:moveTo>
                      <a:cubicBezTo>
                        <a:pt x="37313" y="0"/>
                        <a:pt x="37313" y="0"/>
                        <a:pt x="37313" y="0"/>
                      </a:cubicBezTo>
                      <a:cubicBezTo>
                        <a:pt x="41703" y="38685"/>
                        <a:pt x="40605" y="77371"/>
                        <a:pt x="39508" y="113781"/>
                      </a:cubicBezTo>
                      <a:cubicBezTo>
                        <a:pt x="37313" y="179774"/>
                        <a:pt x="36216" y="236665"/>
                        <a:pt x="68042" y="270799"/>
                      </a:cubicBezTo>
                      <a:cubicBezTo>
                        <a:pt x="92185" y="296969"/>
                        <a:pt x="134986" y="309485"/>
                        <a:pt x="199735" y="309485"/>
                      </a:cubicBezTo>
                      <a:cubicBezTo>
                        <a:pt x="567379" y="309485"/>
                        <a:pt x="567379" y="309485"/>
                        <a:pt x="567379" y="309485"/>
                      </a:cubicBezTo>
                      <a:cubicBezTo>
                        <a:pt x="688098" y="301520"/>
                        <a:pt x="881248" y="359549"/>
                        <a:pt x="911977" y="508602"/>
                      </a:cubicBezTo>
                      <a:cubicBezTo>
                        <a:pt x="911977" y="509740"/>
                        <a:pt x="911977" y="510878"/>
                        <a:pt x="911977" y="512016"/>
                      </a:cubicBezTo>
                      <a:cubicBezTo>
                        <a:pt x="914172" y="552977"/>
                        <a:pt x="913074" y="591663"/>
                        <a:pt x="913074" y="629211"/>
                      </a:cubicBezTo>
                      <a:cubicBezTo>
                        <a:pt x="911977" y="741854"/>
                        <a:pt x="910879" y="831742"/>
                        <a:pt x="962459" y="880668"/>
                      </a:cubicBezTo>
                      <a:cubicBezTo>
                        <a:pt x="1006357" y="922767"/>
                        <a:pt x="1085373" y="937558"/>
                        <a:pt x="1213774" y="926180"/>
                      </a:cubicBezTo>
                      <a:cubicBezTo>
                        <a:pt x="1376196" y="914802"/>
                        <a:pt x="1392658" y="1036548"/>
                        <a:pt x="1402535" y="1108230"/>
                      </a:cubicBezTo>
                      <a:cubicBezTo>
                        <a:pt x="1403632" y="1121884"/>
                        <a:pt x="1405827" y="1134400"/>
                        <a:pt x="1408022" y="1144640"/>
                      </a:cubicBezTo>
                      <a:cubicBezTo>
                        <a:pt x="1408022" y="1146916"/>
                        <a:pt x="1408022" y="1148054"/>
                        <a:pt x="1408022" y="1149192"/>
                      </a:cubicBezTo>
                      <a:cubicBezTo>
                        <a:pt x="1403632" y="1656657"/>
                        <a:pt x="1403632" y="1656657"/>
                        <a:pt x="1403632" y="1656657"/>
                      </a:cubicBezTo>
                      <a:cubicBezTo>
                        <a:pt x="1403632" y="1656657"/>
                        <a:pt x="1403632" y="1657794"/>
                        <a:pt x="1403632" y="1658932"/>
                      </a:cubicBezTo>
                      <a:cubicBezTo>
                        <a:pt x="1381683" y="1843258"/>
                        <a:pt x="1298278" y="1887633"/>
                        <a:pt x="1181948" y="1899011"/>
                      </a:cubicBezTo>
                      <a:cubicBezTo>
                        <a:pt x="1180851" y="1899011"/>
                        <a:pt x="1179753" y="1899011"/>
                        <a:pt x="1178656" y="1899011"/>
                      </a:cubicBezTo>
                      <a:cubicBezTo>
                        <a:pt x="1030501" y="1894460"/>
                        <a:pt x="1030501" y="1894460"/>
                        <a:pt x="1030501" y="1894460"/>
                      </a:cubicBezTo>
                      <a:cubicBezTo>
                        <a:pt x="859300" y="1909251"/>
                        <a:pt x="849423" y="2037824"/>
                        <a:pt x="848325" y="2053754"/>
                      </a:cubicBezTo>
                      <a:lnTo>
                        <a:pt x="847471" y="2144502"/>
                      </a:lnTo>
                      <a:lnTo>
                        <a:pt x="810158" y="2144502"/>
                      </a:lnTo>
                      <a:lnTo>
                        <a:pt x="810463" y="2112067"/>
                      </a:lnTo>
                      <a:cubicBezTo>
                        <a:pt x="811012" y="2053754"/>
                        <a:pt x="811012" y="2053754"/>
                        <a:pt x="811012" y="2053754"/>
                      </a:cubicBezTo>
                      <a:cubicBezTo>
                        <a:pt x="811012" y="2052616"/>
                        <a:pt x="811012" y="2052616"/>
                        <a:pt x="811012" y="2052616"/>
                      </a:cubicBezTo>
                      <a:cubicBezTo>
                        <a:pt x="812109" y="2034411"/>
                        <a:pt x="823084" y="1872841"/>
                        <a:pt x="1028306" y="1855774"/>
                      </a:cubicBezTo>
                      <a:cubicBezTo>
                        <a:pt x="1029404" y="1855774"/>
                        <a:pt x="1030501" y="1855774"/>
                        <a:pt x="1030501" y="1855774"/>
                      </a:cubicBezTo>
                      <a:cubicBezTo>
                        <a:pt x="1178656" y="1860325"/>
                        <a:pt x="1178656" y="1860325"/>
                        <a:pt x="1178656" y="1860325"/>
                      </a:cubicBezTo>
                      <a:cubicBezTo>
                        <a:pt x="1285108" y="1850085"/>
                        <a:pt x="1346565" y="1813675"/>
                        <a:pt x="1366319" y="1654381"/>
                      </a:cubicBezTo>
                      <a:cubicBezTo>
                        <a:pt x="1370709" y="1151467"/>
                        <a:pt x="1370709" y="1151467"/>
                        <a:pt x="1370709" y="1151467"/>
                      </a:cubicBezTo>
                      <a:cubicBezTo>
                        <a:pt x="1368514" y="1140089"/>
                        <a:pt x="1367417" y="1127573"/>
                        <a:pt x="1365222" y="1113919"/>
                      </a:cubicBezTo>
                      <a:cubicBezTo>
                        <a:pt x="1354247" y="1036548"/>
                        <a:pt x="1344370" y="955763"/>
                        <a:pt x="1217067" y="964866"/>
                      </a:cubicBezTo>
                      <a:cubicBezTo>
                        <a:pt x="1077691" y="977382"/>
                        <a:pt x="988798" y="959177"/>
                        <a:pt x="937218" y="909113"/>
                      </a:cubicBezTo>
                      <a:cubicBezTo>
                        <a:pt x="873566" y="847671"/>
                        <a:pt x="874664" y="746406"/>
                        <a:pt x="875761" y="628073"/>
                      </a:cubicBezTo>
                      <a:cubicBezTo>
                        <a:pt x="875761" y="592801"/>
                        <a:pt x="876859" y="555253"/>
                        <a:pt x="874664" y="515429"/>
                      </a:cubicBezTo>
                      <a:cubicBezTo>
                        <a:pt x="848325" y="394821"/>
                        <a:pt x="681513" y="341344"/>
                        <a:pt x="569574" y="348171"/>
                      </a:cubicBezTo>
                      <a:cubicBezTo>
                        <a:pt x="569574" y="348171"/>
                        <a:pt x="568477" y="348171"/>
                        <a:pt x="568477" y="348171"/>
                      </a:cubicBezTo>
                      <a:cubicBezTo>
                        <a:pt x="199735" y="348171"/>
                        <a:pt x="199735" y="348171"/>
                        <a:pt x="199735" y="348171"/>
                      </a:cubicBezTo>
                      <a:cubicBezTo>
                        <a:pt x="124011" y="348171"/>
                        <a:pt x="72431" y="331103"/>
                        <a:pt x="40605" y="296969"/>
                      </a:cubicBezTo>
                      <a:cubicBezTo>
                        <a:pt x="-2195" y="251456"/>
                        <a:pt x="0" y="184325"/>
                        <a:pt x="2195" y="112643"/>
                      </a:cubicBezTo>
                      <a:cubicBezTo>
                        <a:pt x="3292" y="77371"/>
                        <a:pt x="4390" y="39823"/>
                        <a:pt x="0" y="5689"/>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596" name="Freeform 595"/>
                <p:cNvSpPr>
                  <a:spLocks/>
                </p:cNvSpPr>
                <p:nvPr/>
              </p:nvSpPr>
              <p:spPr bwMode="auto">
                <a:xfrm rot="5400000">
                  <a:off x="10542060" y="-149976"/>
                  <a:ext cx="1109410" cy="2136959"/>
                </a:xfrm>
                <a:custGeom>
                  <a:avLst/>
                  <a:gdLst>
                    <a:gd name="connsiteX0" fmla="*/ 0 w 1109410"/>
                    <a:gd name="connsiteY0" fmla="*/ 897480 h 2136959"/>
                    <a:gd name="connsiteX1" fmla="*/ 0 w 1109410"/>
                    <a:gd name="connsiteY1" fmla="*/ 895205 h 2136959"/>
                    <a:gd name="connsiteX2" fmla="*/ 77903 w 1109410"/>
                    <a:gd name="connsiteY2" fmla="*/ 723444 h 2136959"/>
                    <a:gd name="connsiteX3" fmla="*/ 274307 w 1109410"/>
                    <a:gd name="connsiteY3" fmla="*/ 679082 h 2136959"/>
                    <a:gd name="connsiteX4" fmla="*/ 904116 w 1109410"/>
                    <a:gd name="connsiteY4" fmla="*/ 684770 h 2136959"/>
                    <a:gd name="connsiteX5" fmla="*/ 1053339 w 1109410"/>
                    <a:gd name="connsiteY5" fmla="*/ 478884 h 2136959"/>
                    <a:gd name="connsiteX6" fmla="*/ 1048950 w 1109410"/>
                    <a:gd name="connsiteY6" fmla="*/ 0 h 2136959"/>
                    <a:gd name="connsiteX7" fmla="*/ 1086256 w 1109410"/>
                    <a:gd name="connsiteY7" fmla="*/ 0 h 2136959"/>
                    <a:gd name="connsiteX8" fmla="*/ 1090645 w 1109410"/>
                    <a:gd name="connsiteY8" fmla="*/ 480022 h 2136959"/>
                    <a:gd name="connsiteX9" fmla="*/ 1090645 w 1109410"/>
                    <a:gd name="connsiteY9" fmla="*/ 483434 h 2136959"/>
                    <a:gd name="connsiteX10" fmla="*/ 907408 w 1109410"/>
                    <a:gd name="connsiteY10" fmla="*/ 723444 h 2136959"/>
                    <a:gd name="connsiteX11" fmla="*/ 905213 w 1109410"/>
                    <a:gd name="connsiteY11" fmla="*/ 723444 h 2136959"/>
                    <a:gd name="connsiteX12" fmla="*/ 273210 w 1109410"/>
                    <a:gd name="connsiteY12" fmla="*/ 717757 h 2136959"/>
                    <a:gd name="connsiteX13" fmla="*/ 271015 w 1109410"/>
                    <a:gd name="connsiteY13" fmla="*/ 717757 h 2136959"/>
                    <a:gd name="connsiteX14" fmla="*/ 100945 w 1109410"/>
                    <a:gd name="connsiteY14" fmla="*/ 753019 h 2136959"/>
                    <a:gd name="connsiteX15" fmla="*/ 37306 w 1109410"/>
                    <a:gd name="connsiteY15" fmla="*/ 897480 h 2136959"/>
                    <a:gd name="connsiteX16" fmla="*/ 39500 w 1109410"/>
                    <a:gd name="connsiteY16" fmla="*/ 990754 h 2136959"/>
                    <a:gd name="connsiteX17" fmla="*/ 46084 w 1109410"/>
                    <a:gd name="connsiteY17" fmla="*/ 1152278 h 2136959"/>
                    <a:gd name="connsiteX18" fmla="*/ 254557 w 1109410"/>
                    <a:gd name="connsiteY18" fmla="*/ 1319489 h 2136959"/>
                    <a:gd name="connsiteX19" fmla="*/ 255654 w 1109410"/>
                    <a:gd name="connsiteY19" fmla="*/ 1318351 h 2136959"/>
                    <a:gd name="connsiteX20" fmla="*/ 869005 w 1109410"/>
                    <a:gd name="connsiteY20" fmla="*/ 1318351 h 2136959"/>
                    <a:gd name="connsiteX21" fmla="*/ 1035784 w 1109410"/>
                    <a:gd name="connsiteY21" fmla="*/ 1370676 h 2136959"/>
                    <a:gd name="connsiteX22" fmla="*/ 1108201 w 1109410"/>
                    <a:gd name="connsiteY22" fmla="*/ 1592486 h 2136959"/>
                    <a:gd name="connsiteX23" fmla="*/ 1103007 w 1109410"/>
                    <a:gd name="connsiteY23" fmla="*/ 2136959 h 2136959"/>
                    <a:gd name="connsiteX24" fmla="*/ 1065697 w 1109410"/>
                    <a:gd name="connsiteY24" fmla="*/ 2136959 h 2136959"/>
                    <a:gd name="connsiteX25" fmla="*/ 1066187 w 1109410"/>
                    <a:gd name="connsiteY25" fmla="*/ 2085548 h 2136959"/>
                    <a:gd name="connsiteX26" fmla="*/ 1070895 w 1109410"/>
                    <a:gd name="connsiteY26" fmla="*/ 1591349 h 2136959"/>
                    <a:gd name="connsiteX27" fmla="*/ 1070895 w 1109410"/>
                    <a:gd name="connsiteY27" fmla="*/ 1589073 h 2136959"/>
                    <a:gd name="connsiteX28" fmla="*/ 1010547 w 1109410"/>
                    <a:gd name="connsiteY28" fmla="*/ 1397975 h 2136959"/>
                    <a:gd name="connsiteX29" fmla="*/ 872297 w 1109410"/>
                    <a:gd name="connsiteY29" fmla="*/ 1357026 h 2136959"/>
                    <a:gd name="connsiteX30" fmla="*/ 870102 w 1109410"/>
                    <a:gd name="connsiteY30" fmla="*/ 1358163 h 2136959"/>
                    <a:gd name="connsiteX31" fmla="*/ 256751 w 1109410"/>
                    <a:gd name="connsiteY31" fmla="*/ 1358163 h 2136959"/>
                    <a:gd name="connsiteX32" fmla="*/ 8778 w 1109410"/>
                    <a:gd name="connsiteY32" fmla="*/ 1157965 h 2136959"/>
                    <a:gd name="connsiteX33" fmla="*/ 8778 w 1109410"/>
                    <a:gd name="connsiteY33" fmla="*/ 1156828 h 2136959"/>
                    <a:gd name="connsiteX34" fmla="*/ 1097 w 1109410"/>
                    <a:gd name="connsiteY34" fmla="*/ 990754 h 2136959"/>
                    <a:gd name="connsiteX35" fmla="*/ 0 w 1109410"/>
                    <a:gd name="connsiteY35" fmla="*/ 897480 h 213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09410" h="2136959">
                      <a:moveTo>
                        <a:pt x="0" y="897480"/>
                      </a:moveTo>
                      <a:cubicBezTo>
                        <a:pt x="0" y="896343"/>
                        <a:pt x="0" y="896343"/>
                        <a:pt x="0" y="895205"/>
                      </a:cubicBezTo>
                      <a:cubicBezTo>
                        <a:pt x="6583" y="818993"/>
                        <a:pt x="32917" y="760982"/>
                        <a:pt x="77903" y="723444"/>
                      </a:cubicBezTo>
                      <a:cubicBezTo>
                        <a:pt x="123987" y="683632"/>
                        <a:pt x="190918" y="668845"/>
                        <a:pt x="274307" y="679082"/>
                      </a:cubicBezTo>
                      <a:cubicBezTo>
                        <a:pt x="904116" y="684770"/>
                        <a:pt x="904116" y="684770"/>
                        <a:pt x="904116" y="684770"/>
                      </a:cubicBezTo>
                      <a:cubicBezTo>
                        <a:pt x="985311" y="674532"/>
                        <a:pt x="1034686" y="605146"/>
                        <a:pt x="1053339" y="478884"/>
                      </a:cubicBezTo>
                      <a:cubicBezTo>
                        <a:pt x="1048950" y="0"/>
                        <a:pt x="1048950" y="0"/>
                        <a:pt x="1048950" y="0"/>
                      </a:cubicBezTo>
                      <a:cubicBezTo>
                        <a:pt x="1086256" y="0"/>
                        <a:pt x="1086256" y="0"/>
                        <a:pt x="1086256" y="0"/>
                      </a:cubicBezTo>
                      <a:cubicBezTo>
                        <a:pt x="1090645" y="480022"/>
                        <a:pt x="1090645" y="480022"/>
                        <a:pt x="1090645" y="480022"/>
                      </a:cubicBezTo>
                      <a:cubicBezTo>
                        <a:pt x="1090645" y="481159"/>
                        <a:pt x="1090645" y="482297"/>
                        <a:pt x="1090645" y="483434"/>
                      </a:cubicBezTo>
                      <a:cubicBezTo>
                        <a:pt x="1064312" y="666570"/>
                        <a:pt x="976533" y="715482"/>
                        <a:pt x="907408" y="723444"/>
                      </a:cubicBezTo>
                      <a:cubicBezTo>
                        <a:pt x="906311" y="723444"/>
                        <a:pt x="906311" y="723444"/>
                        <a:pt x="905213" y="723444"/>
                      </a:cubicBezTo>
                      <a:cubicBezTo>
                        <a:pt x="273210" y="717757"/>
                        <a:pt x="273210" y="717757"/>
                        <a:pt x="273210" y="717757"/>
                      </a:cubicBezTo>
                      <a:cubicBezTo>
                        <a:pt x="272113" y="717757"/>
                        <a:pt x="272113" y="717757"/>
                        <a:pt x="271015" y="717757"/>
                      </a:cubicBezTo>
                      <a:cubicBezTo>
                        <a:pt x="197501" y="708657"/>
                        <a:pt x="139348" y="721169"/>
                        <a:pt x="100945" y="753019"/>
                      </a:cubicBezTo>
                      <a:cubicBezTo>
                        <a:pt x="64737" y="783731"/>
                        <a:pt x="43889" y="832643"/>
                        <a:pt x="37306" y="897480"/>
                      </a:cubicBezTo>
                      <a:cubicBezTo>
                        <a:pt x="38403" y="936155"/>
                        <a:pt x="38403" y="964592"/>
                        <a:pt x="39500" y="990754"/>
                      </a:cubicBezTo>
                      <a:cubicBezTo>
                        <a:pt x="39500" y="1046491"/>
                        <a:pt x="39500" y="1082891"/>
                        <a:pt x="46084" y="1152278"/>
                      </a:cubicBezTo>
                      <a:cubicBezTo>
                        <a:pt x="60348" y="1241002"/>
                        <a:pt x="122890" y="1330863"/>
                        <a:pt x="254557" y="1319489"/>
                      </a:cubicBezTo>
                      <a:cubicBezTo>
                        <a:pt x="254557" y="1318351"/>
                        <a:pt x="255654" y="1318351"/>
                        <a:pt x="255654" y="1318351"/>
                      </a:cubicBezTo>
                      <a:cubicBezTo>
                        <a:pt x="869005" y="1318351"/>
                        <a:pt x="869005" y="1318351"/>
                        <a:pt x="869005" y="1318351"/>
                      </a:cubicBezTo>
                      <a:cubicBezTo>
                        <a:pt x="935936" y="1309251"/>
                        <a:pt x="992992" y="1327451"/>
                        <a:pt x="1035784" y="1370676"/>
                      </a:cubicBezTo>
                      <a:cubicBezTo>
                        <a:pt x="1095034" y="1428688"/>
                        <a:pt x="1114784" y="1524237"/>
                        <a:pt x="1108201" y="1592486"/>
                      </a:cubicBezTo>
                      <a:lnTo>
                        <a:pt x="1103007" y="2136959"/>
                      </a:lnTo>
                      <a:lnTo>
                        <a:pt x="1065697" y="2136959"/>
                      </a:lnTo>
                      <a:lnTo>
                        <a:pt x="1066187" y="2085548"/>
                      </a:lnTo>
                      <a:cubicBezTo>
                        <a:pt x="1070895" y="1591349"/>
                        <a:pt x="1070895" y="1591349"/>
                        <a:pt x="1070895" y="1591349"/>
                      </a:cubicBezTo>
                      <a:cubicBezTo>
                        <a:pt x="1070895" y="1590211"/>
                        <a:pt x="1070895" y="1590211"/>
                        <a:pt x="1070895" y="1589073"/>
                      </a:cubicBezTo>
                      <a:cubicBezTo>
                        <a:pt x="1076381" y="1532199"/>
                        <a:pt x="1059923" y="1448025"/>
                        <a:pt x="1010547" y="1397975"/>
                      </a:cubicBezTo>
                      <a:cubicBezTo>
                        <a:pt x="975436" y="1362713"/>
                        <a:pt x="929353" y="1349063"/>
                        <a:pt x="872297" y="1357026"/>
                      </a:cubicBezTo>
                      <a:cubicBezTo>
                        <a:pt x="872297" y="1358163"/>
                        <a:pt x="871199" y="1358163"/>
                        <a:pt x="870102" y="1358163"/>
                      </a:cubicBezTo>
                      <a:cubicBezTo>
                        <a:pt x="256751" y="1358163"/>
                        <a:pt x="256751" y="1358163"/>
                        <a:pt x="256751" y="1358163"/>
                      </a:cubicBezTo>
                      <a:cubicBezTo>
                        <a:pt x="99848" y="1371813"/>
                        <a:pt x="25236" y="1259202"/>
                        <a:pt x="8778" y="1157965"/>
                      </a:cubicBezTo>
                      <a:cubicBezTo>
                        <a:pt x="8778" y="1157965"/>
                        <a:pt x="8778" y="1156828"/>
                        <a:pt x="8778" y="1156828"/>
                      </a:cubicBezTo>
                      <a:cubicBezTo>
                        <a:pt x="2195" y="1085166"/>
                        <a:pt x="2195" y="1045354"/>
                        <a:pt x="1097" y="990754"/>
                      </a:cubicBezTo>
                      <a:cubicBezTo>
                        <a:pt x="1097" y="964592"/>
                        <a:pt x="1097" y="936155"/>
                        <a:pt x="0" y="89748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597" name="Freeform 188"/>
                <p:cNvSpPr>
                  <a:spLocks/>
                </p:cNvSpPr>
                <p:nvPr/>
              </p:nvSpPr>
              <p:spPr bwMode="auto">
                <a:xfrm rot="5400000">
                  <a:off x="11664279" y="1486985"/>
                  <a:ext cx="371110" cy="630819"/>
                </a:xfrm>
                <a:custGeom>
                  <a:avLst/>
                  <a:gdLst>
                    <a:gd name="T0" fmla="*/ 266 w 338"/>
                    <a:gd name="T1" fmla="*/ 555 h 555"/>
                    <a:gd name="T2" fmla="*/ 52 w 338"/>
                    <a:gd name="T3" fmla="*/ 498 h 555"/>
                    <a:gd name="T4" fmla="*/ 0 w 338"/>
                    <a:gd name="T5" fmla="*/ 350 h 555"/>
                    <a:gd name="T6" fmla="*/ 0 w 338"/>
                    <a:gd name="T7" fmla="*/ 0 h 555"/>
                    <a:gd name="T8" fmla="*/ 34 w 338"/>
                    <a:gd name="T9" fmla="*/ 0 h 555"/>
                    <a:gd name="T10" fmla="*/ 34 w 338"/>
                    <a:gd name="T11" fmla="*/ 349 h 555"/>
                    <a:gd name="T12" fmla="*/ 75 w 338"/>
                    <a:gd name="T13" fmla="*/ 472 h 555"/>
                    <a:gd name="T14" fmla="*/ 336 w 338"/>
                    <a:gd name="T15" fmla="*/ 519 h 555"/>
                    <a:gd name="T16" fmla="*/ 338 w 338"/>
                    <a:gd name="T17" fmla="*/ 553 h 555"/>
                    <a:gd name="T18" fmla="*/ 266 w 338"/>
                    <a:gd name="T19" fmla="*/ 555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555">
                      <a:moveTo>
                        <a:pt x="266" y="555"/>
                      </a:moveTo>
                      <a:cubicBezTo>
                        <a:pt x="165" y="555"/>
                        <a:pt x="95" y="536"/>
                        <a:pt x="52" y="498"/>
                      </a:cubicBezTo>
                      <a:cubicBezTo>
                        <a:pt x="7" y="456"/>
                        <a:pt x="0" y="399"/>
                        <a:pt x="0" y="350"/>
                      </a:cubicBezTo>
                      <a:cubicBezTo>
                        <a:pt x="0" y="0"/>
                        <a:pt x="0" y="0"/>
                        <a:pt x="0" y="0"/>
                      </a:cubicBezTo>
                      <a:cubicBezTo>
                        <a:pt x="34" y="0"/>
                        <a:pt x="34" y="0"/>
                        <a:pt x="34" y="0"/>
                      </a:cubicBezTo>
                      <a:cubicBezTo>
                        <a:pt x="34" y="349"/>
                        <a:pt x="34" y="349"/>
                        <a:pt x="34" y="349"/>
                      </a:cubicBezTo>
                      <a:cubicBezTo>
                        <a:pt x="34" y="392"/>
                        <a:pt x="40" y="440"/>
                        <a:pt x="75" y="472"/>
                      </a:cubicBezTo>
                      <a:cubicBezTo>
                        <a:pt x="120" y="513"/>
                        <a:pt x="205" y="528"/>
                        <a:pt x="336" y="519"/>
                      </a:cubicBezTo>
                      <a:cubicBezTo>
                        <a:pt x="338" y="553"/>
                        <a:pt x="338" y="553"/>
                        <a:pt x="338" y="553"/>
                      </a:cubicBezTo>
                      <a:cubicBezTo>
                        <a:pt x="312" y="555"/>
                        <a:pt x="288" y="555"/>
                        <a:pt x="266" y="555"/>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98" name="Freeform 597"/>
                <p:cNvSpPr>
                  <a:spLocks/>
                </p:cNvSpPr>
                <p:nvPr/>
              </p:nvSpPr>
              <p:spPr bwMode="auto">
                <a:xfrm rot="5400000">
                  <a:off x="10137309" y="1406308"/>
                  <a:ext cx="498812" cy="716860"/>
                </a:xfrm>
                <a:custGeom>
                  <a:avLst/>
                  <a:gdLst>
                    <a:gd name="connsiteX0" fmla="*/ 266 w 498812"/>
                    <a:gd name="connsiteY0" fmla="*/ 294156 h 716860"/>
                    <a:gd name="connsiteX1" fmla="*/ 48040 w 498812"/>
                    <a:gd name="connsiteY1" fmla="*/ 152511 h 716860"/>
                    <a:gd name="connsiteX2" fmla="*/ 176675 w 498812"/>
                    <a:gd name="connsiteY2" fmla="*/ 75117 h 716860"/>
                    <a:gd name="connsiteX3" fmla="*/ 178874 w 498812"/>
                    <a:gd name="connsiteY3" fmla="*/ 75117 h 716860"/>
                    <a:gd name="connsiteX4" fmla="*/ 281122 w 498812"/>
                    <a:gd name="connsiteY4" fmla="*/ 75117 h 716860"/>
                    <a:gd name="connsiteX5" fmla="*/ 349288 w 498812"/>
                    <a:gd name="connsiteY5" fmla="*/ 62598 h 716860"/>
                    <a:gd name="connsiteX6" fmla="*/ 465829 w 498812"/>
                    <a:gd name="connsiteY6" fmla="*/ 0 h 716860"/>
                    <a:gd name="connsiteX7" fmla="*/ 498812 w 498812"/>
                    <a:gd name="connsiteY7" fmla="*/ 18210 h 716860"/>
                    <a:gd name="connsiteX8" fmla="*/ 352586 w 498812"/>
                    <a:gd name="connsiteY8" fmla="*/ 101295 h 716860"/>
                    <a:gd name="connsiteX9" fmla="*/ 292117 w 498812"/>
                    <a:gd name="connsiteY9" fmla="*/ 112676 h 716860"/>
                    <a:gd name="connsiteX10" fmla="*/ 284421 w 498812"/>
                    <a:gd name="connsiteY10" fmla="*/ 113814 h 716860"/>
                    <a:gd name="connsiteX11" fmla="*/ 179974 w 498812"/>
                    <a:gd name="connsiteY11" fmla="*/ 113814 h 716860"/>
                    <a:gd name="connsiteX12" fmla="*/ 77725 w 498812"/>
                    <a:gd name="connsiteY12" fmla="*/ 175274 h 716860"/>
                    <a:gd name="connsiteX13" fmla="*/ 39245 w 498812"/>
                    <a:gd name="connsiteY13" fmla="*/ 324370 h 716860"/>
                    <a:gd name="connsiteX14" fmla="*/ 39245 w 498812"/>
                    <a:gd name="connsiteY14" fmla="*/ 327784 h 716860"/>
                    <a:gd name="connsiteX15" fmla="*/ 39245 w 498812"/>
                    <a:gd name="connsiteY15" fmla="*/ 716860 h 716860"/>
                    <a:gd name="connsiteX16" fmla="*/ 1864 w 498812"/>
                    <a:gd name="connsiteY16" fmla="*/ 716860 h 716860"/>
                    <a:gd name="connsiteX17" fmla="*/ 1864 w 498812"/>
                    <a:gd name="connsiteY17" fmla="*/ 651763 h 716860"/>
                    <a:gd name="connsiteX18" fmla="*/ 1864 w 498812"/>
                    <a:gd name="connsiteY18" fmla="*/ 330061 h 716860"/>
                    <a:gd name="connsiteX19" fmla="*/ 266 w 498812"/>
                    <a:gd name="connsiteY19" fmla="*/ 294156 h 71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8812" h="716860">
                      <a:moveTo>
                        <a:pt x="266" y="294156"/>
                      </a:moveTo>
                      <a:cubicBezTo>
                        <a:pt x="2276" y="252383"/>
                        <a:pt x="15882" y="196045"/>
                        <a:pt x="48040" y="152511"/>
                      </a:cubicBezTo>
                      <a:cubicBezTo>
                        <a:pt x="78825" y="106985"/>
                        <a:pt x="122802" y="81946"/>
                        <a:pt x="176675" y="75117"/>
                      </a:cubicBezTo>
                      <a:cubicBezTo>
                        <a:pt x="177775" y="75117"/>
                        <a:pt x="177775" y="75117"/>
                        <a:pt x="178874" y="75117"/>
                      </a:cubicBezTo>
                      <a:cubicBezTo>
                        <a:pt x="281122" y="75117"/>
                        <a:pt x="281122" y="75117"/>
                        <a:pt x="281122" y="75117"/>
                      </a:cubicBezTo>
                      <a:cubicBezTo>
                        <a:pt x="303111" y="66012"/>
                        <a:pt x="326199" y="64874"/>
                        <a:pt x="349288" y="62598"/>
                      </a:cubicBezTo>
                      <a:cubicBezTo>
                        <a:pt x="396564" y="59183"/>
                        <a:pt x="438343" y="56907"/>
                        <a:pt x="465829" y="0"/>
                      </a:cubicBezTo>
                      <a:cubicBezTo>
                        <a:pt x="498812" y="18210"/>
                        <a:pt x="498812" y="18210"/>
                        <a:pt x="498812" y="18210"/>
                      </a:cubicBezTo>
                      <a:cubicBezTo>
                        <a:pt x="461431" y="93328"/>
                        <a:pt x="400962" y="97880"/>
                        <a:pt x="352586" y="101295"/>
                      </a:cubicBezTo>
                      <a:cubicBezTo>
                        <a:pt x="330597" y="103571"/>
                        <a:pt x="308608" y="104709"/>
                        <a:pt x="292117" y="112676"/>
                      </a:cubicBezTo>
                      <a:cubicBezTo>
                        <a:pt x="288818" y="113814"/>
                        <a:pt x="286620" y="113814"/>
                        <a:pt x="284421" y="113814"/>
                      </a:cubicBezTo>
                      <a:cubicBezTo>
                        <a:pt x="179974" y="113814"/>
                        <a:pt x="179974" y="113814"/>
                        <a:pt x="179974" y="113814"/>
                      </a:cubicBezTo>
                      <a:cubicBezTo>
                        <a:pt x="137095" y="119505"/>
                        <a:pt x="103013" y="139991"/>
                        <a:pt x="77725" y="175274"/>
                      </a:cubicBezTo>
                      <a:cubicBezTo>
                        <a:pt x="40344" y="227628"/>
                        <a:pt x="33748" y="298193"/>
                        <a:pt x="39245" y="324370"/>
                      </a:cubicBezTo>
                      <a:cubicBezTo>
                        <a:pt x="39245" y="325508"/>
                        <a:pt x="39245" y="326646"/>
                        <a:pt x="39245" y="327784"/>
                      </a:cubicBezTo>
                      <a:lnTo>
                        <a:pt x="39245" y="716860"/>
                      </a:lnTo>
                      <a:lnTo>
                        <a:pt x="1864" y="716860"/>
                      </a:lnTo>
                      <a:lnTo>
                        <a:pt x="1864" y="651763"/>
                      </a:lnTo>
                      <a:cubicBezTo>
                        <a:pt x="1864" y="330061"/>
                        <a:pt x="1864" y="330061"/>
                        <a:pt x="1864" y="330061"/>
                      </a:cubicBezTo>
                      <a:cubicBezTo>
                        <a:pt x="215" y="320387"/>
                        <a:pt x="-404" y="308081"/>
                        <a:pt x="266" y="294156"/>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599" name="Freeform 598"/>
                <p:cNvSpPr>
                  <a:spLocks/>
                </p:cNvSpPr>
                <p:nvPr/>
              </p:nvSpPr>
              <p:spPr bwMode="auto">
                <a:xfrm rot="5400000">
                  <a:off x="9945058" y="1692033"/>
                  <a:ext cx="377688" cy="211234"/>
                </a:xfrm>
                <a:custGeom>
                  <a:avLst/>
                  <a:gdLst>
                    <a:gd name="connsiteX0" fmla="*/ 0 w 377688"/>
                    <a:gd name="connsiteY0" fmla="*/ 211234 h 211234"/>
                    <a:gd name="connsiteX1" fmla="*/ 2434 w 377688"/>
                    <a:gd name="connsiteY1" fmla="*/ 162783 h 211234"/>
                    <a:gd name="connsiteX2" fmla="*/ 47888 w 377688"/>
                    <a:gd name="connsiteY2" fmla="*/ 54959 h 211234"/>
                    <a:gd name="connsiteX3" fmla="*/ 377688 w 377688"/>
                    <a:gd name="connsiteY3" fmla="*/ 3766 h 211234"/>
                    <a:gd name="connsiteX4" fmla="*/ 375497 w 377688"/>
                    <a:gd name="connsiteY4" fmla="*/ 42445 h 211234"/>
                    <a:gd name="connsiteX5" fmla="*/ 74184 w 377688"/>
                    <a:gd name="connsiteY5" fmla="*/ 83399 h 211234"/>
                    <a:gd name="connsiteX6" fmla="*/ 39516 w 377688"/>
                    <a:gd name="connsiteY6" fmla="*/ 170906 h 211234"/>
                    <a:gd name="connsiteX7" fmla="*/ 38231 w 377688"/>
                    <a:gd name="connsiteY7" fmla="*/ 211234 h 21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688" h="211234">
                      <a:moveTo>
                        <a:pt x="0" y="211234"/>
                      </a:moveTo>
                      <a:lnTo>
                        <a:pt x="2434" y="162783"/>
                      </a:lnTo>
                      <a:cubicBezTo>
                        <a:pt x="8033" y="113403"/>
                        <a:pt x="22413" y="79701"/>
                        <a:pt x="47888" y="54959"/>
                      </a:cubicBezTo>
                      <a:cubicBezTo>
                        <a:pt x="98289" y="6041"/>
                        <a:pt x="187040" y="-7610"/>
                        <a:pt x="377688" y="3766"/>
                      </a:cubicBezTo>
                      <a:cubicBezTo>
                        <a:pt x="375497" y="42445"/>
                        <a:pt x="375497" y="42445"/>
                        <a:pt x="375497" y="42445"/>
                      </a:cubicBezTo>
                      <a:cubicBezTo>
                        <a:pt x="199092" y="31069"/>
                        <a:pt x="114725" y="42445"/>
                        <a:pt x="74184" y="83399"/>
                      </a:cubicBezTo>
                      <a:cubicBezTo>
                        <a:pt x="54462" y="102169"/>
                        <a:pt x="43368" y="129259"/>
                        <a:pt x="39516" y="170906"/>
                      </a:cubicBezTo>
                      <a:lnTo>
                        <a:pt x="38231" y="211234"/>
                      </a:ln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600" name="Freeform 599"/>
                <p:cNvSpPr>
                  <a:spLocks/>
                </p:cNvSpPr>
                <p:nvPr/>
              </p:nvSpPr>
              <p:spPr bwMode="auto">
                <a:xfrm rot="5400000">
                  <a:off x="10216505" y="118823"/>
                  <a:ext cx="874655" cy="1251093"/>
                </a:xfrm>
                <a:custGeom>
                  <a:avLst/>
                  <a:gdLst>
                    <a:gd name="connsiteX0" fmla="*/ 0 w 874655"/>
                    <a:gd name="connsiteY0" fmla="*/ 38680 h 1251093"/>
                    <a:gd name="connsiteX1" fmla="*/ 0 w 874655"/>
                    <a:gd name="connsiteY1" fmla="*/ 0 h 1251093"/>
                    <a:gd name="connsiteX2" fmla="*/ 233754 w 874655"/>
                    <a:gd name="connsiteY2" fmla="*/ 3412 h 1251093"/>
                    <a:gd name="connsiteX3" fmla="*/ 237046 w 874655"/>
                    <a:gd name="connsiteY3" fmla="*/ 3412 h 1251093"/>
                    <a:gd name="connsiteX4" fmla="*/ 398369 w 874655"/>
                    <a:gd name="connsiteY4" fmla="*/ 179749 h 1251093"/>
                    <a:gd name="connsiteX5" fmla="*/ 399466 w 874655"/>
                    <a:gd name="connsiteY5" fmla="*/ 183162 h 1251093"/>
                    <a:gd name="connsiteX6" fmla="*/ 390687 w 874655"/>
                    <a:gd name="connsiteY6" fmla="*/ 906712 h 1251093"/>
                    <a:gd name="connsiteX7" fmla="*/ 545425 w 874655"/>
                    <a:gd name="connsiteY7" fmla="*/ 1068260 h 1251093"/>
                    <a:gd name="connsiteX8" fmla="*/ 683701 w 874655"/>
                    <a:gd name="connsiteY8" fmla="*/ 1068260 h 1251093"/>
                    <a:gd name="connsiteX9" fmla="*/ 874655 w 874655"/>
                    <a:gd name="connsiteY9" fmla="*/ 1233220 h 1251093"/>
                    <a:gd name="connsiteX10" fmla="*/ 874655 w 874655"/>
                    <a:gd name="connsiteY10" fmla="*/ 1237771 h 1251093"/>
                    <a:gd name="connsiteX11" fmla="*/ 874655 w 874655"/>
                    <a:gd name="connsiteY11" fmla="*/ 1251093 h 1251093"/>
                    <a:gd name="connsiteX12" fmla="*/ 837342 w 874655"/>
                    <a:gd name="connsiteY12" fmla="*/ 1251093 h 1251093"/>
                    <a:gd name="connsiteX13" fmla="*/ 837342 w 874655"/>
                    <a:gd name="connsiteY13" fmla="*/ 1247210 h 1251093"/>
                    <a:gd name="connsiteX14" fmla="*/ 837342 w 874655"/>
                    <a:gd name="connsiteY14" fmla="*/ 1241184 h 1251093"/>
                    <a:gd name="connsiteX15" fmla="*/ 683701 w 874655"/>
                    <a:gd name="connsiteY15" fmla="*/ 1106940 h 1251093"/>
                    <a:gd name="connsiteX16" fmla="*/ 544327 w 874655"/>
                    <a:gd name="connsiteY16" fmla="*/ 1106940 h 1251093"/>
                    <a:gd name="connsiteX17" fmla="*/ 542133 w 874655"/>
                    <a:gd name="connsiteY17" fmla="*/ 1106940 h 1251093"/>
                    <a:gd name="connsiteX18" fmla="*/ 353374 w 874655"/>
                    <a:gd name="connsiteY18" fmla="*/ 908988 h 1251093"/>
                    <a:gd name="connsiteX19" fmla="*/ 353374 w 874655"/>
                    <a:gd name="connsiteY19" fmla="*/ 907850 h 1251093"/>
                    <a:gd name="connsiteX20" fmla="*/ 362153 w 874655"/>
                    <a:gd name="connsiteY20" fmla="*/ 184300 h 1251093"/>
                    <a:gd name="connsiteX21" fmla="*/ 230461 w 874655"/>
                    <a:gd name="connsiteY21" fmla="*/ 42093 h 1251093"/>
                    <a:gd name="connsiteX22" fmla="*/ 0 w 874655"/>
                    <a:gd name="connsiteY22" fmla="*/ 38680 h 125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655" h="1251093">
                      <a:moveTo>
                        <a:pt x="0" y="38680"/>
                      </a:moveTo>
                      <a:cubicBezTo>
                        <a:pt x="0" y="0"/>
                        <a:pt x="0" y="0"/>
                        <a:pt x="0" y="0"/>
                      </a:cubicBezTo>
                      <a:cubicBezTo>
                        <a:pt x="233754" y="3412"/>
                        <a:pt x="233754" y="3412"/>
                        <a:pt x="233754" y="3412"/>
                      </a:cubicBezTo>
                      <a:cubicBezTo>
                        <a:pt x="234851" y="3412"/>
                        <a:pt x="235948" y="3412"/>
                        <a:pt x="237046" y="3412"/>
                      </a:cubicBezTo>
                      <a:cubicBezTo>
                        <a:pt x="358861" y="30716"/>
                        <a:pt x="387394" y="112628"/>
                        <a:pt x="398369" y="179749"/>
                      </a:cubicBezTo>
                      <a:cubicBezTo>
                        <a:pt x="399466" y="180887"/>
                        <a:pt x="399466" y="182025"/>
                        <a:pt x="399466" y="183162"/>
                      </a:cubicBezTo>
                      <a:cubicBezTo>
                        <a:pt x="390687" y="906712"/>
                        <a:pt x="390687" y="906712"/>
                        <a:pt x="390687" y="906712"/>
                      </a:cubicBezTo>
                      <a:cubicBezTo>
                        <a:pt x="400564" y="1029579"/>
                        <a:pt x="470799" y="1056883"/>
                        <a:pt x="545425" y="1068260"/>
                      </a:cubicBezTo>
                      <a:cubicBezTo>
                        <a:pt x="683701" y="1068260"/>
                        <a:pt x="683701" y="1068260"/>
                        <a:pt x="683701" y="1068260"/>
                      </a:cubicBezTo>
                      <a:cubicBezTo>
                        <a:pt x="823076" y="1069397"/>
                        <a:pt x="864778" y="1194540"/>
                        <a:pt x="874655" y="1233220"/>
                      </a:cubicBezTo>
                      <a:cubicBezTo>
                        <a:pt x="874655" y="1235495"/>
                        <a:pt x="874655" y="1236633"/>
                        <a:pt x="874655" y="1237771"/>
                      </a:cubicBezTo>
                      <a:lnTo>
                        <a:pt x="874655" y="1251093"/>
                      </a:lnTo>
                      <a:lnTo>
                        <a:pt x="837342" y="1251093"/>
                      </a:lnTo>
                      <a:lnTo>
                        <a:pt x="837342" y="1247210"/>
                      </a:lnTo>
                      <a:cubicBezTo>
                        <a:pt x="837342" y="1241184"/>
                        <a:pt x="837342" y="1241184"/>
                        <a:pt x="837342" y="1241184"/>
                      </a:cubicBezTo>
                      <a:cubicBezTo>
                        <a:pt x="826368" y="1199090"/>
                        <a:pt x="791250" y="1108078"/>
                        <a:pt x="683701" y="1106940"/>
                      </a:cubicBezTo>
                      <a:cubicBezTo>
                        <a:pt x="544327" y="1106940"/>
                        <a:pt x="544327" y="1106940"/>
                        <a:pt x="544327" y="1106940"/>
                      </a:cubicBezTo>
                      <a:cubicBezTo>
                        <a:pt x="543230" y="1106940"/>
                        <a:pt x="543230" y="1106940"/>
                        <a:pt x="542133" y="1106940"/>
                      </a:cubicBezTo>
                      <a:cubicBezTo>
                        <a:pt x="460922" y="1094426"/>
                        <a:pt x="365446" y="1061434"/>
                        <a:pt x="353374" y="908988"/>
                      </a:cubicBezTo>
                      <a:cubicBezTo>
                        <a:pt x="353374" y="908988"/>
                        <a:pt x="353374" y="907850"/>
                        <a:pt x="353374" y="907850"/>
                      </a:cubicBezTo>
                      <a:cubicBezTo>
                        <a:pt x="362153" y="184300"/>
                        <a:pt x="362153" y="184300"/>
                        <a:pt x="362153" y="184300"/>
                      </a:cubicBezTo>
                      <a:cubicBezTo>
                        <a:pt x="351179" y="124004"/>
                        <a:pt x="328133" y="64846"/>
                        <a:pt x="230461" y="42093"/>
                      </a:cubicBezTo>
                      <a:cubicBezTo>
                        <a:pt x="0" y="38680"/>
                        <a:pt x="0" y="38680"/>
                        <a:pt x="0" y="3868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601" name="Freeform 600"/>
                <p:cNvSpPr>
                  <a:spLocks/>
                </p:cNvSpPr>
                <p:nvPr/>
              </p:nvSpPr>
              <p:spPr bwMode="auto">
                <a:xfrm rot="5400000">
                  <a:off x="9938317" y="1410617"/>
                  <a:ext cx="664391" cy="484452"/>
                </a:xfrm>
                <a:custGeom>
                  <a:avLst/>
                  <a:gdLst>
                    <a:gd name="connsiteX0" fmla="*/ 45 w 664391"/>
                    <a:gd name="connsiteY0" fmla="*/ 252601 h 484452"/>
                    <a:gd name="connsiteX1" fmla="*/ 192211 w 664391"/>
                    <a:gd name="connsiteY1" fmla="*/ 13654 h 484452"/>
                    <a:gd name="connsiteX2" fmla="*/ 304217 w 664391"/>
                    <a:gd name="connsiteY2" fmla="*/ 9103 h 484452"/>
                    <a:gd name="connsiteX3" fmla="*/ 664391 w 664391"/>
                    <a:gd name="connsiteY3" fmla="*/ 0 h 484452"/>
                    <a:gd name="connsiteX4" fmla="*/ 664391 w 664391"/>
                    <a:gd name="connsiteY4" fmla="*/ 38687 h 484452"/>
                    <a:gd name="connsiteX5" fmla="*/ 306413 w 664391"/>
                    <a:gd name="connsiteY5" fmla="*/ 47789 h 484452"/>
                    <a:gd name="connsiteX6" fmla="*/ 193309 w 664391"/>
                    <a:gd name="connsiteY6" fmla="*/ 52341 h 484452"/>
                    <a:gd name="connsiteX7" fmla="*/ 37380 w 664391"/>
                    <a:gd name="connsiteY7" fmla="*/ 252601 h 484452"/>
                    <a:gd name="connsiteX8" fmla="*/ 38830 w 664391"/>
                    <a:gd name="connsiteY8" fmla="*/ 453159 h 484452"/>
                    <a:gd name="connsiteX9" fmla="*/ 39056 w 664391"/>
                    <a:gd name="connsiteY9" fmla="*/ 484452 h 484452"/>
                    <a:gd name="connsiteX10" fmla="*/ 1721 w 664391"/>
                    <a:gd name="connsiteY10" fmla="*/ 484452 h 484452"/>
                    <a:gd name="connsiteX11" fmla="*/ 1473 w 664391"/>
                    <a:gd name="connsiteY11" fmla="*/ 450044 h 484452"/>
                    <a:gd name="connsiteX12" fmla="*/ 45 w 664391"/>
                    <a:gd name="connsiteY12" fmla="*/ 252601 h 48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4391" h="484452">
                      <a:moveTo>
                        <a:pt x="45" y="252601"/>
                      </a:moveTo>
                      <a:cubicBezTo>
                        <a:pt x="-2151" y="119473"/>
                        <a:pt x="78010" y="18205"/>
                        <a:pt x="192211" y="13654"/>
                      </a:cubicBezTo>
                      <a:cubicBezTo>
                        <a:pt x="227350" y="12516"/>
                        <a:pt x="264685" y="10241"/>
                        <a:pt x="304217" y="9103"/>
                      </a:cubicBezTo>
                      <a:cubicBezTo>
                        <a:pt x="415124" y="4551"/>
                        <a:pt x="541405" y="0"/>
                        <a:pt x="664391" y="0"/>
                      </a:cubicBezTo>
                      <a:cubicBezTo>
                        <a:pt x="664391" y="38687"/>
                        <a:pt x="664391" y="38687"/>
                        <a:pt x="664391" y="38687"/>
                      </a:cubicBezTo>
                      <a:cubicBezTo>
                        <a:pt x="542503" y="38687"/>
                        <a:pt x="416222" y="43238"/>
                        <a:pt x="306413" y="47789"/>
                      </a:cubicBezTo>
                      <a:cubicBezTo>
                        <a:pt x="266882" y="48927"/>
                        <a:pt x="229547" y="51203"/>
                        <a:pt x="193309" y="52341"/>
                      </a:cubicBezTo>
                      <a:cubicBezTo>
                        <a:pt x="101070" y="55754"/>
                        <a:pt x="35184" y="139954"/>
                        <a:pt x="37380" y="252601"/>
                      </a:cubicBezTo>
                      <a:cubicBezTo>
                        <a:pt x="37929" y="328552"/>
                        <a:pt x="38410" y="395009"/>
                        <a:pt x="38830" y="453159"/>
                      </a:cubicBezTo>
                      <a:lnTo>
                        <a:pt x="39056" y="484452"/>
                      </a:lnTo>
                      <a:lnTo>
                        <a:pt x="1721" y="484452"/>
                      </a:lnTo>
                      <a:lnTo>
                        <a:pt x="1473" y="450044"/>
                      </a:lnTo>
                      <a:cubicBezTo>
                        <a:pt x="45" y="252601"/>
                        <a:pt x="45" y="252601"/>
                        <a:pt x="45" y="252601"/>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602" name="Freeform 193"/>
                <p:cNvSpPr>
                  <a:spLocks noEditPoints="1"/>
                </p:cNvSpPr>
                <p:nvPr/>
              </p:nvSpPr>
              <p:spPr bwMode="auto">
                <a:xfrm>
                  <a:off x="10242246" y="1048594"/>
                  <a:ext cx="184828" cy="241462"/>
                </a:xfrm>
                <a:custGeom>
                  <a:avLst/>
                  <a:gdLst>
                    <a:gd name="T0" fmla="*/ 95 w 169"/>
                    <a:gd name="T1" fmla="*/ 105 h 212"/>
                    <a:gd name="T2" fmla="*/ 134 w 169"/>
                    <a:gd name="T3" fmla="*/ 212 h 212"/>
                    <a:gd name="T4" fmla="*/ 113 w 169"/>
                    <a:gd name="T5" fmla="*/ 212 h 212"/>
                    <a:gd name="T6" fmla="*/ 85 w 169"/>
                    <a:gd name="T7" fmla="*/ 188 h 212"/>
                    <a:gd name="T8" fmla="*/ 56 w 169"/>
                    <a:gd name="T9" fmla="*/ 212 h 212"/>
                    <a:gd name="T10" fmla="*/ 36 w 169"/>
                    <a:gd name="T11" fmla="*/ 212 h 212"/>
                    <a:gd name="T12" fmla="*/ 74 w 169"/>
                    <a:gd name="T13" fmla="*/ 105 h 212"/>
                    <a:gd name="T14" fmla="*/ 67 w 169"/>
                    <a:gd name="T15" fmla="*/ 90 h 212"/>
                    <a:gd name="T16" fmla="*/ 85 w 169"/>
                    <a:gd name="T17" fmla="*/ 72 h 212"/>
                    <a:gd name="T18" fmla="*/ 102 w 169"/>
                    <a:gd name="T19" fmla="*/ 90 h 212"/>
                    <a:gd name="T20" fmla="*/ 95 w 169"/>
                    <a:gd name="T21" fmla="*/ 105 h 212"/>
                    <a:gd name="T22" fmla="*/ 85 w 169"/>
                    <a:gd name="T23" fmla="*/ 36 h 212"/>
                    <a:gd name="T24" fmla="*/ 136 w 169"/>
                    <a:gd name="T25" fmla="*/ 87 h 212"/>
                    <a:gd name="T26" fmla="*/ 112 w 169"/>
                    <a:gd name="T27" fmla="*/ 129 h 212"/>
                    <a:gd name="T28" fmla="*/ 111 w 169"/>
                    <a:gd name="T29" fmla="*/ 122 h 212"/>
                    <a:gd name="T30" fmla="*/ 126 w 169"/>
                    <a:gd name="T31" fmla="*/ 90 h 212"/>
                    <a:gd name="T32" fmla="*/ 85 w 169"/>
                    <a:gd name="T33" fmla="*/ 49 h 212"/>
                    <a:gd name="T34" fmla="*/ 44 w 169"/>
                    <a:gd name="T35" fmla="*/ 90 h 212"/>
                    <a:gd name="T36" fmla="*/ 59 w 169"/>
                    <a:gd name="T37" fmla="*/ 122 h 212"/>
                    <a:gd name="T38" fmla="*/ 57 w 169"/>
                    <a:gd name="T39" fmla="*/ 129 h 212"/>
                    <a:gd name="T40" fmla="*/ 35 w 169"/>
                    <a:gd name="T41" fmla="*/ 87 h 212"/>
                    <a:gd name="T42" fmla="*/ 85 w 169"/>
                    <a:gd name="T43" fmla="*/ 36 h 212"/>
                    <a:gd name="T44" fmla="*/ 85 w 169"/>
                    <a:gd name="T45" fmla="*/ 0 h 212"/>
                    <a:gd name="T46" fmla="*/ 169 w 169"/>
                    <a:gd name="T47" fmla="*/ 85 h 212"/>
                    <a:gd name="T48" fmla="*/ 123 w 169"/>
                    <a:gd name="T49" fmla="*/ 161 h 212"/>
                    <a:gd name="T50" fmla="*/ 120 w 169"/>
                    <a:gd name="T51" fmla="*/ 155 h 212"/>
                    <a:gd name="T52" fmla="*/ 160 w 169"/>
                    <a:gd name="T53" fmla="*/ 89 h 212"/>
                    <a:gd name="T54" fmla="*/ 85 w 169"/>
                    <a:gd name="T55" fmla="*/ 14 h 212"/>
                    <a:gd name="T56" fmla="*/ 11 w 169"/>
                    <a:gd name="T57" fmla="*/ 89 h 212"/>
                    <a:gd name="T58" fmla="*/ 49 w 169"/>
                    <a:gd name="T59" fmla="*/ 155 h 212"/>
                    <a:gd name="T60" fmla="*/ 47 w 169"/>
                    <a:gd name="T61" fmla="*/ 161 h 212"/>
                    <a:gd name="T62" fmla="*/ 0 w 169"/>
                    <a:gd name="T63" fmla="*/ 85 h 212"/>
                    <a:gd name="T64" fmla="*/ 85 w 169"/>
                    <a:gd name="T65" fmla="*/ 0 h 212"/>
                    <a:gd name="T66" fmla="*/ 85 w 169"/>
                    <a:gd name="T67" fmla="*/ 130 h 212"/>
                    <a:gd name="T68" fmla="*/ 93 w 169"/>
                    <a:gd name="T69" fmla="*/ 138 h 212"/>
                    <a:gd name="T70" fmla="*/ 85 w 169"/>
                    <a:gd name="T71" fmla="*/ 145 h 212"/>
                    <a:gd name="T72" fmla="*/ 76 w 169"/>
                    <a:gd name="T73" fmla="*/ 138 h 212"/>
                    <a:gd name="T74" fmla="*/ 85 w 169"/>
                    <a:gd name="T75" fmla="*/ 130 h 212"/>
                    <a:gd name="T76" fmla="*/ 85 w 169"/>
                    <a:gd name="T77" fmla="*/ 179 h 212"/>
                    <a:gd name="T78" fmla="*/ 99 w 169"/>
                    <a:gd name="T79" fmla="*/ 167 h 212"/>
                    <a:gd name="T80" fmla="*/ 85 w 169"/>
                    <a:gd name="T81" fmla="*/ 156 h 212"/>
                    <a:gd name="T82" fmla="*/ 71 w 169"/>
                    <a:gd name="T83" fmla="*/ 167 h 212"/>
                    <a:gd name="T84" fmla="*/ 85 w 169"/>
                    <a:gd name="T85" fmla="*/ 17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9" h="212">
                      <a:moveTo>
                        <a:pt x="95" y="105"/>
                      </a:moveTo>
                      <a:cubicBezTo>
                        <a:pt x="102" y="151"/>
                        <a:pt x="119" y="189"/>
                        <a:pt x="134" y="212"/>
                      </a:cubicBezTo>
                      <a:cubicBezTo>
                        <a:pt x="113" y="212"/>
                        <a:pt x="113" y="212"/>
                        <a:pt x="113" y="212"/>
                      </a:cubicBezTo>
                      <a:cubicBezTo>
                        <a:pt x="113" y="199"/>
                        <a:pt x="104" y="188"/>
                        <a:pt x="85" y="188"/>
                      </a:cubicBezTo>
                      <a:cubicBezTo>
                        <a:pt x="66" y="188"/>
                        <a:pt x="57" y="199"/>
                        <a:pt x="56" y="212"/>
                      </a:cubicBezTo>
                      <a:cubicBezTo>
                        <a:pt x="36" y="212"/>
                        <a:pt x="36" y="212"/>
                        <a:pt x="36" y="212"/>
                      </a:cubicBezTo>
                      <a:cubicBezTo>
                        <a:pt x="51" y="189"/>
                        <a:pt x="67" y="151"/>
                        <a:pt x="74" y="105"/>
                      </a:cubicBezTo>
                      <a:cubicBezTo>
                        <a:pt x="70" y="102"/>
                        <a:pt x="67" y="96"/>
                        <a:pt x="67" y="90"/>
                      </a:cubicBezTo>
                      <a:cubicBezTo>
                        <a:pt x="67" y="81"/>
                        <a:pt x="75" y="72"/>
                        <a:pt x="85" y="72"/>
                      </a:cubicBezTo>
                      <a:cubicBezTo>
                        <a:pt x="95" y="72"/>
                        <a:pt x="102" y="81"/>
                        <a:pt x="102" y="90"/>
                      </a:cubicBezTo>
                      <a:cubicBezTo>
                        <a:pt x="102" y="96"/>
                        <a:pt x="100" y="102"/>
                        <a:pt x="95" y="105"/>
                      </a:cubicBezTo>
                      <a:close/>
                      <a:moveTo>
                        <a:pt x="85" y="36"/>
                      </a:moveTo>
                      <a:cubicBezTo>
                        <a:pt x="113" y="36"/>
                        <a:pt x="136" y="59"/>
                        <a:pt x="136" y="87"/>
                      </a:cubicBezTo>
                      <a:cubicBezTo>
                        <a:pt x="136" y="105"/>
                        <a:pt x="126" y="120"/>
                        <a:pt x="112" y="129"/>
                      </a:cubicBezTo>
                      <a:cubicBezTo>
                        <a:pt x="112" y="127"/>
                        <a:pt x="111" y="125"/>
                        <a:pt x="111" y="122"/>
                      </a:cubicBezTo>
                      <a:cubicBezTo>
                        <a:pt x="120" y="115"/>
                        <a:pt x="126" y="104"/>
                        <a:pt x="126" y="90"/>
                      </a:cubicBezTo>
                      <a:cubicBezTo>
                        <a:pt x="126" y="67"/>
                        <a:pt x="108" y="49"/>
                        <a:pt x="85" y="49"/>
                      </a:cubicBezTo>
                      <a:cubicBezTo>
                        <a:pt x="62" y="49"/>
                        <a:pt x="44" y="67"/>
                        <a:pt x="44" y="90"/>
                      </a:cubicBezTo>
                      <a:cubicBezTo>
                        <a:pt x="44" y="104"/>
                        <a:pt x="49" y="115"/>
                        <a:pt x="59" y="122"/>
                      </a:cubicBezTo>
                      <a:cubicBezTo>
                        <a:pt x="59" y="125"/>
                        <a:pt x="57" y="127"/>
                        <a:pt x="57" y="129"/>
                      </a:cubicBezTo>
                      <a:cubicBezTo>
                        <a:pt x="44" y="120"/>
                        <a:pt x="35" y="105"/>
                        <a:pt x="35" y="87"/>
                      </a:cubicBezTo>
                      <a:cubicBezTo>
                        <a:pt x="35" y="59"/>
                        <a:pt x="56" y="36"/>
                        <a:pt x="85" y="36"/>
                      </a:cubicBezTo>
                      <a:close/>
                      <a:moveTo>
                        <a:pt x="85" y="0"/>
                      </a:moveTo>
                      <a:cubicBezTo>
                        <a:pt x="132" y="0"/>
                        <a:pt x="169" y="39"/>
                        <a:pt x="169" y="85"/>
                      </a:cubicBezTo>
                      <a:cubicBezTo>
                        <a:pt x="169" y="118"/>
                        <a:pt x="150" y="148"/>
                        <a:pt x="123" y="161"/>
                      </a:cubicBezTo>
                      <a:cubicBezTo>
                        <a:pt x="122" y="159"/>
                        <a:pt x="121" y="157"/>
                        <a:pt x="120" y="155"/>
                      </a:cubicBezTo>
                      <a:cubicBezTo>
                        <a:pt x="144" y="142"/>
                        <a:pt x="160" y="117"/>
                        <a:pt x="160" y="89"/>
                      </a:cubicBezTo>
                      <a:cubicBezTo>
                        <a:pt x="160" y="47"/>
                        <a:pt x="126" y="14"/>
                        <a:pt x="85" y="14"/>
                      </a:cubicBezTo>
                      <a:cubicBezTo>
                        <a:pt x="44" y="14"/>
                        <a:pt x="11" y="47"/>
                        <a:pt x="11" y="89"/>
                      </a:cubicBezTo>
                      <a:cubicBezTo>
                        <a:pt x="11" y="117"/>
                        <a:pt x="26" y="142"/>
                        <a:pt x="49" y="155"/>
                      </a:cubicBezTo>
                      <a:cubicBezTo>
                        <a:pt x="48" y="157"/>
                        <a:pt x="48" y="159"/>
                        <a:pt x="47" y="161"/>
                      </a:cubicBezTo>
                      <a:cubicBezTo>
                        <a:pt x="19" y="148"/>
                        <a:pt x="0" y="118"/>
                        <a:pt x="0" y="85"/>
                      </a:cubicBezTo>
                      <a:cubicBezTo>
                        <a:pt x="0" y="39"/>
                        <a:pt x="38" y="0"/>
                        <a:pt x="85" y="0"/>
                      </a:cubicBezTo>
                      <a:close/>
                      <a:moveTo>
                        <a:pt x="85" y="130"/>
                      </a:moveTo>
                      <a:cubicBezTo>
                        <a:pt x="91" y="130"/>
                        <a:pt x="93" y="134"/>
                        <a:pt x="93" y="138"/>
                      </a:cubicBezTo>
                      <a:cubicBezTo>
                        <a:pt x="93" y="141"/>
                        <a:pt x="91" y="145"/>
                        <a:pt x="85" y="145"/>
                      </a:cubicBezTo>
                      <a:cubicBezTo>
                        <a:pt x="78" y="145"/>
                        <a:pt x="76" y="141"/>
                        <a:pt x="76" y="138"/>
                      </a:cubicBezTo>
                      <a:cubicBezTo>
                        <a:pt x="76" y="134"/>
                        <a:pt x="78" y="130"/>
                        <a:pt x="85" y="130"/>
                      </a:cubicBezTo>
                      <a:close/>
                      <a:moveTo>
                        <a:pt x="85" y="179"/>
                      </a:moveTo>
                      <a:cubicBezTo>
                        <a:pt x="95" y="179"/>
                        <a:pt x="99" y="174"/>
                        <a:pt x="99" y="167"/>
                      </a:cubicBezTo>
                      <a:cubicBezTo>
                        <a:pt x="99" y="161"/>
                        <a:pt x="95" y="156"/>
                        <a:pt x="85" y="156"/>
                      </a:cubicBezTo>
                      <a:cubicBezTo>
                        <a:pt x="74" y="156"/>
                        <a:pt x="71" y="161"/>
                        <a:pt x="71" y="167"/>
                      </a:cubicBezTo>
                      <a:cubicBezTo>
                        <a:pt x="71" y="174"/>
                        <a:pt x="74" y="179"/>
                        <a:pt x="85" y="179"/>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3" name="Freeform 194"/>
                <p:cNvSpPr>
                  <a:spLocks noEditPoints="1"/>
                </p:cNvSpPr>
                <p:nvPr/>
              </p:nvSpPr>
              <p:spPr bwMode="auto">
                <a:xfrm>
                  <a:off x="11233665" y="802912"/>
                  <a:ext cx="188741" cy="320267"/>
                </a:xfrm>
                <a:custGeom>
                  <a:avLst/>
                  <a:gdLst>
                    <a:gd name="T0" fmla="*/ 180 w 219"/>
                    <a:gd name="T1" fmla="*/ 29 h 358"/>
                    <a:gd name="T2" fmla="*/ 159 w 219"/>
                    <a:gd name="T3" fmla="*/ 35 h 358"/>
                    <a:gd name="T4" fmla="*/ 104 w 219"/>
                    <a:gd name="T5" fmla="*/ 0 h 358"/>
                    <a:gd name="T6" fmla="*/ 44 w 219"/>
                    <a:gd name="T7" fmla="*/ 48 h 358"/>
                    <a:gd name="T8" fmla="*/ 31 w 219"/>
                    <a:gd name="T9" fmla="*/ 45 h 358"/>
                    <a:gd name="T10" fmla="*/ 0 w 219"/>
                    <a:gd name="T11" fmla="*/ 76 h 358"/>
                    <a:gd name="T12" fmla="*/ 31 w 219"/>
                    <a:gd name="T13" fmla="*/ 108 h 358"/>
                    <a:gd name="T14" fmla="*/ 180 w 219"/>
                    <a:gd name="T15" fmla="*/ 108 h 358"/>
                    <a:gd name="T16" fmla="*/ 219 w 219"/>
                    <a:gd name="T17" fmla="*/ 68 h 358"/>
                    <a:gd name="T18" fmla="*/ 180 w 219"/>
                    <a:gd name="T19" fmla="*/ 29 h 358"/>
                    <a:gd name="T20" fmla="*/ 47 w 219"/>
                    <a:gd name="T21" fmla="*/ 299 h 358"/>
                    <a:gd name="T22" fmla="*/ 47 w 219"/>
                    <a:gd name="T23" fmla="*/ 353 h 358"/>
                    <a:gd name="T24" fmla="*/ 51 w 219"/>
                    <a:gd name="T25" fmla="*/ 358 h 358"/>
                    <a:gd name="T26" fmla="*/ 89 w 219"/>
                    <a:gd name="T27" fmla="*/ 358 h 358"/>
                    <a:gd name="T28" fmla="*/ 89 w 219"/>
                    <a:gd name="T29" fmla="*/ 307 h 358"/>
                    <a:gd name="T30" fmla="*/ 94 w 219"/>
                    <a:gd name="T31" fmla="*/ 303 h 358"/>
                    <a:gd name="T32" fmla="*/ 125 w 219"/>
                    <a:gd name="T33" fmla="*/ 303 h 358"/>
                    <a:gd name="T34" fmla="*/ 130 w 219"/>
                    <a:gd name="T35" fmla="*/ 307 h 358"/>
                    <a:gd name="T36" fmla="*/ 130 w 219"/>
                    <a:gd name="T37" fmla="*/ 358 h 358"/>
                    <a:gd name="T38" fmla="*/ 168 w 219"/>
                    <a:gd name="T39" fmla="*/ 358 h 358"/>
                    <a:gd name="T40" fmla="*/ 172 w 219"/>
                    <a:gd name="T41" fmla="*/ 353 h 358"/>
                    <a:gd name="T42" fmla="*/ 172 w 219"/>
                    <a:gd name="T43" fmla="*/ 299 h 358"/>
                    <a:gd name="T44" fmla="*/ 109 w 219"/>
                    <a:gd name="T45" fmla="*/ 243 h 358"/>
                    <a:gd name="T46" fmla="*/ 47 w 219"/>
                    <a:gd name="T47" fmla="*/ 299 h 358"/>
                    <a:gd name="T48" fmla="*/ 47 w 219"/>
                    <a:gd name="T49" fmla="*/ 299 h 358"/>
                    <a:gd name="T50" fmla="*/ 160 w 219"/>
                    <a:gd name="T51" fmla="*/ 218 h 358"/>
                    <a:gd name="T52" fmla="*/ 136 w 219"/>
                    <a:gd name="T53" fmla="*/ 218 h 358"/>
                    <a:gd name="T54" fmla="*/ 136 w 219"/>
                    <a:gd name="T55" fmla="*/ 235 h 358"/>
                    <a:gd name="T56" fmla="*/ 109 w 219"/>
                    <a:gd name="T57" fmla="*/ 212 h 358"/>
                    <a:gd name="T58" fmla="*/ 29 w 219"/>
                    <a:gd name="T59" fmla="*/ 283 h 358"/>
                    <a:gd name="T60" fmla="*/ 29 w 219"/>
                    <a:gd name="T61" fmla="*/ 304 h 358"/>
                    <a:gd name="T62" fmla="*/ 109 w 219"/>
                    <a:gd name="T63" fmla="*/ 234 h 358"/>
                    <a:gd name="T64" fmla="*/ 190 w 219"/>
                    <a:gd name="T65" fmla="*/ 304 h 358"/>
                    <a:gd name="T66" fmla="*/ 190 w 219"/>
                    <a:gd name="T67" fmla="*/ 283 h 358"/>
                    <a:gd name="T68" fmla="*/ 160 w 219"/>
                    <a:gd name="T69" fmla="*/ 256 h 358"/>
                    <a:gd name="T70" fmla="*/ 160 w 219"/>
                    <a:gd name="T71" fmla="*/ 218 h 358"/>
                    <a:gd name="T72" fmla="*/ 160 w 219"/>
                    <a:gd name="T73" fmla="*/ 218 h 358"/>
                    <a:gd name="T74" fmla="*/ 109 w 219"/>
                    <a:gd name="T75" fmla="*/ 189 h 358"/>
                    <a:gd name="T76" fmla="*/ 160 w 219"/>
                    <a:gd name="T77" fmla="*/ 159 h 358"/>
                    <a:gd name="T78" fmla="*/ 109 w 219"/>
                    <a:gd name="T79" fmla="*/ 180 h 358"/>
                    <a:gd name="T80" fmla="*/ 59 w 219"/>
                    <a:gd name="T81" fmla="*/ 159 h 358"/>
                    <a:gd name="T82" fmla="*/ 109 w 219"/>
                    <a:gd name="T83" fmla="*/ 189 h 358"/>
                    <a:gd name="T84" fmla="*/ 109 w 219"/>
                    <a:gd name="T85" fmla="*/ 164 h 358"/>
                    <a:gd name="T86" fmla="*/ 144 w 219"/>
                    <a:gd name="T87" fmla="*/ 141 h 358"/>
                    <a:gd name="T88" fmla="*/ 109 w 219"/>
                    <a:gd name="T89" fmla="*/ 156 h 358"/>
                    <a:gd name="T90" fmla="*/ 75 w 219"/>
                    <a:gd name="T91" fmla="*/ 141 h 358"/>
                    <a:gd name="T92" fmla="*/ 109 w 219"/>
                    <a:gd name="T93" fmla="*/ 164 h 358"/>
                    <a:gd name="T94" fmla="*/ 130 w 219"/>
                    <a:gd name="T95" fmla="*/ 127 h 358"/>
                    <a:gd name="T96" fmla="*/ 109 w 219"/>
                    <a:gd name="T97" fmla="*/ 135 h 358"/>
                    <a:gd name="T98" fmla="*/ 89 w 219"/>
                    <a:gd name="T99" fmla="*/ 127 h 358"/>
                    <a:gd name="T100" fmla="*/ 109 w 219"/>
                    <a:gd name="T101" fmla="*/ 142 h 358"/>
                    <a:gd name="T102" fmla="*/ 130 w 219"/>
                    <a:gd name="T103" fmla="*/ 12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 h="358">
                      <a:moveTo>
                        <a:pt x="180" y="29"/>
                      </a:moveTo>
                      <a:cubicBezTo>
                        <a:pt x="172" y="29"/>
                        <a:pt x="165" y="31"/>
                        <a:pt x="159" y="35"/>
                      </a:cubicBezTo>
                      <a:cubicBezTo>
                        <a:pt x="149" y="14"/>
                        <a:pt x="128" y="0"/>
                        <a:pt x="104" y="0"/>
                      </a:cubicBezTo>
                      <a:cubicBezTo>
                        <a:pt x="74" y="0"/>
                        <a:pt x="50" y="20"/>
                        <a:pt x="44" y="48"/>
                      </a:cubicBezTo>
                      <a:cubicBezTo>
                        <a:pt x="40" y="46"/>
                        <a:pt x="36" y="45"/>
                        <a:pt x="31" y="45"/>
                      </a:cubicBezTo>
                      <a:cubicBezTo>
                        <a:pt x="14" y="45"/>
                        <a:pt x="0" y="59"/>
                        <a:pt x="0" y="76"/>
                      </a:cubicBezTo>
                      <a:cubicBezTo>
                        <a:pt x="0" y="94"/>
                        <a:pt x="14" y="108"/>
                        <a:pt x="31" y="108"/>
                      </a:cubicBezTo>
                      <a:cubicBezTo>
                        <a:pt x="180" y="108"/>
                        <a:pt x="180" y="108"/>
                        <a:pt x="180" y="108"/>
                      </a:cubicBezTo>
                      <a:cubicBezTo>
                        <a:pt x="201" y="108"/>
                        <a:pt x="219" y="90"/>
                        <a:pt x="219" y="68"/>
                      </a:cubicBezTo>
                      <a:cubicBezTo>
                        <a:pt x="219" y="46"/>
                        <a:pt x="201" y="29"/>
                        <a:pt x="180" y="29"/>
                      </a:cubicBezTo>
                      <a:close/>
                      <a:moveTo>
                        <a:pt x="47" y="299"/>
                      </a:moveTo>
                      <a:cubicBezTo>
                        <a:pt x="47" y="353"/>
                        <a:pt x="47" y="353"/>
                        <a:pt x="47" y="353"/>
                      </a:cubicBezTo>
                      <a:cubicBezTo>
                        <a:pt x="47" y="355"/>
                        <a:pt x="49" y="358"/>
                        <a:pt x="51" y="358"/>
                      </a:cubicBezTo>
                      <a:cubicBezTo>
                        <a:pt x="89" y="358"/>
                        <a:pt x="89" y="358"/>
                        <a:pt x="89" y="358"/>
                      </a:cubicBezTo>
                      <a:cubicBezTo>
                        <a:pt x="89" y="307"/>
                        <a:pt x="89" y="307"/>
                        <a:pt x="89" y="307"/>
                      </a:cubicBezTo>
                      <a:cubicBezTo>
                        <a:pt x="89" y="305"/>
                        <a:pt x="91" y="303"/>
                        <a:pt x="94" y="303"/>
                      </a:cubicBezTo>
                      <a:cubicBezTo>
                        <a:pt x="125" y="303"/>
                        <a:pt x="125" y="303"/>
                        <a:pt x="125" y="303"/>
                      </a:cubicBezTo>
                      <a:cubicBezTo>
                        <a:pt x="128" y="303"/>
                        <a:pt x="130" y="305"/>
                        <a:pt x="130" y="307"/>
                      </a:cubicBezTo>
                      <a:cubicBezTo>
                        <a:pt x="130" y="358"/>
                        <a:pt x="130" y="358"/>
                        <a:pt x="130" y="358"/>
                      </a:cubicBezTo>
                      <a:cubicBezTo>
                        <a:pt x="168" y="358"/>
                        <a:pt x="168" y="358"/>
                        <a:pt x="168" y="358"/>
                      </a:cubicBezTo>
                      <a:cubicBezTo>
                        <a:pt x="170" y="358"/>
                        <a:pt x="172" y="355"/>
                        <a:pt x="172" y="353"/>
                      </a:cubicBezTo>
                      <a:cubicBezTo>
                        <a:pt x="172" y="299"/>
                        <a:pt x="172" y="299"/>
                        <a:pt x="172" y="299"/>
                      </a:cubicBezTo>
                      <a:cubicBezTo>
                        <a:pt x="109" y="243"/>
                        <a:pt x="109" y="243"/>
                        <a:pt x="109" y="243"/>
                      </a:cubicBezTo>
                      <a:cubicBezTo>
                        <a:pt x="47" y="299"/>
                        <a:pt x="47" y="299"/>
                        <a:pt x="47" y="299"/>
                      </a:cubicBezTo>
                      <a:cubicBezTo>
                        <a:pt x="47" y="299"/>
                        <a:pt x="47" y="299"/>
                        <a:pt x="47" y="299"/>
                      </a:cubicBezTo>
                      <a:close/>
                      <a:moveTo>
                        <a:pt x="160" y="218"/>
                      </a:moveTo>
                      <a:cubicBezTo>
                        <a:pt x="136" y="218"/>
                        <a:pt x="136" y="218"/>
                        <a:pt x="136" y="218"/>
                      </a:cubicBezTo>
                      <a:cubicBezTo>
                        <a:pt x="136" y="235"/>
                        <a:pt x="136" y="235"/>
                        <a:pt x="136" y="235"/>
                      </a:cubicBezTo>
                      <a:cubicBezTo>
                        <a:pt x="109" y="212"/>
                        <a:pt x="109" y="212"/>
                        <a:pt x="109" y="212"/>
                      </a:cubicBezTo>
                      <a:cubicBezTo>
                        <a:pt x="29" y="283"/>
                        <a:pt x="29" y="283"/>
                        <a:pt x="29" y="283"/>
                      </a:cubicBezTo>
                      <a:cubicBezTo>
                        <a:pt x="29" y="304"/>
                        <a:pt x="29" y="304"/>
                        <a:pt x="29" y="304"/>
                      </a:cubicBezTo>
                      <a:cubicBezTo>
                        <a:pt x="109" y="234"/>
                        <a:pt x="109" y="234"/>
                        <a:pt x="109" y="234"/>
                      </a:cubicBezTo>
                      <a:cubicBezTo>
                        <a:pt x="190" y="304"/>
                        <a:pt x="190" y="304"/>
                        <a:pt x="190" y="304"/>
                      </a:cubicBezTo>
                      <a:cubicBezTo>
                        <a:pt x="190" y="283"/>
                        <a:pt x="190" y="283"/>
                        <a:pt x="190" y="283"/>
                      </a:cubicBezTo>
                      <a:cubicBezTo>
                        <a:pt x="160" y="256"/>
                        <a:pt x="160" y="256"/>
                        <a:pt x="160" y="256"/>
                      </a:cubicBezTo>
                      <a:cubicBezTo>
                        <a:pt x="160" y="218"/>
                        <a:pt x="160" y="218"/>
                        <a:pt x="160" y="218"/>
                      </a:cubicBezTo>
                      <a:cubicBezTo>
                        <a:pt x="160" y="218"/>
                        <a:pt x="160" y="218"/>
                        <a:pt x="160" y="218"/>
                      </a:cubicBezTo>
                      <a:close/>
                      <a:moveTo>
                        <a:pt x="109" y="189"/>
                      </a:moveTo>
                      <a:cubicBezTo>
                        <a:pt x="133" y="189"/>
                        <a:pt x="153" y="175"/>
                        <a:pt x="160" y="159"/>
                      </a:cubicBezTo>
                      <a:cubicBezTo>
                        <a:pt x="147" y="173"/>
                        <a:pt x="128" y="180"/>
                        <a:pt x="109" y="180"/>
                      </a:cubicBezTo>
                      <a:cubicBezTo>
                        <a:pt x="91" y="180"/>
                        <a:pt x="72" y="173"/>
                        <a:pt x="59" y="159"/>
                      </a:cubicBezTo>
                      <a:cubicBezTo>
                        <a:pt x="66" y="175"/>
                        <a:pt x="86" y="189"/>
                        <a:pt x="109" y="189"/>
                      </a:cubicBezTo>
                      <a:close/>
                      <a:moveTo>
                        <a:pt x="109" y="164"/>
                      </a:moveTo>
                      <a:cubicBezTo>
                        <a:pt x="127" y="164"/>
                        <a:pt x="140" y="152"/>
                        <a:pt x="144" y="141"/>
                      </a:cubicBezTo>
                      <a:cubicBezTo>
                        <a:pt x="135" y="150"/>
                        <a:pt x="122" y="156"/>
                        <a:pt x="109" y="156"/>
                      </a:cubicBezTo>
                      <a:cubicBezTo>
                        <a:pt x="96" y="156"/>
                        <a:pt x="84" y="150"/>
                        <a:pt x="75" y="141"/>
                      </a:cubicBezTo>
                      <a:cubicBezTo>
                        <a:pt x="79" y="152"/>
                        <a:pt x="92" y="164"/>
                        <a:pt x="109" y="164"/>
                      </a:cubicBezTo>
                      <a:close/>
                      <a:moveTo>
                        <a:pt x="130" y="127"/>
                      </a:moveTo>
                      <a:cubicBezTo>
                        <a:pt x="124" y="132"/>
                        <a:pt x="117" y="135"/>
                        <a:pt x="109" y="135"/>
                      </a:cubicBezTo>
                      <a:cubicBezTo>
                        <a:pt x="102" y="135"/>
                        <a:pt x="95" y="132"/>
                        <a:pt x="89" y="127"/>
                      </a:cubicBezTo>
                      <a:cubicBezTo>
                        <a:pt x="91" y="135"/>
                        <a:pt x="99" y="142"/>
                        <a:pt x="109" y="142"/>
                      </a:cubicBezTo>
                      <a:cubicBezTo>
                        <a:pt x="120" y="142"/>
                        <a:pt x="128" y="135"/>
                        <a:pt x="130" y="127"/>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4" name="Freeform 195"/>
                <p:cNvSpPr>
                  <a:spLocks noEditPoints="1"/>
                </p:cNvSpPr>
                <p:nvPr/>
              </p:nvSpPr>
              <p:spPr bwMode="auto">
                <a:xfrm>
                  <a:off x="11639761" y="1680208"/>
                  <a:ext cx="187738" cy="241462"/>
                </a:xfrm>
                <a:custGeom>
                  <a:avLst/>
                  <a:gdLst>
                    <a:gd name="T0" fmla="*/ 62 w 171"/>
                    <a:gd name="T1" fmla="*/ 187 h 212"/>
                    <a:gd name="T2" fmla="*/ 118 w 171"/>
                    <a:gd name="T3" fmla="*/ 175 h 212"/>
                    <a:gd name="T4" fmla="*/ 118 w 171"/>
                    <a:gd name="T5" fmla="*/ 11 h 212"/>
                    <a:gd name="T6" fmla="*/ 62 w 171"/>
                    <a:gd name="T7" fmla="*/ 0 h 212"/>
                    <a:gd name="T8" fmla="*/ 55 w 171"/>
                    <a:gd name="T9" fmla="*/ 34 h 212"/>
                    <a:gd name="T10" fmla="*/ 74 w 171"/>
                    <a:gd name="T11" fmla="*/ 45 h 212"/>
                    <a:gd name="T12" fmla="*/ 58 w 171"/>
                    <a:gd name="T13" fmla="*/ 56 h 212"/>
                    <a:gd name="T14" fmla="*/ 74 w 171"/>
                    <a:gd name="T15" fmla="*/ 67 h 212"/>
                    <a:gd name="T16" fmla="*/ 59 w 171"/>
                    <a:gd name="T17" fmla="*/ 78 h 212"/>
                    <a:gd name="T18" fmla="*/ 74 w 171"/>
                    <a:gd name="T19" fmla="*/ 89 h 212"/>
                    <a:gd name="T20" fmla="*/ 53 w 171"/>
                    <a:gd name="T21" fmla="*/ 170 h 212"/>
                    <a:gd name="T22" fmla="*/ 85 w 171"/>
                    <a:gd name="T23" fmla="*/ 146 h 212"/>
                    <a:gd name="T24" fmla="*/ 85 w 171"/>
                    <a:gd name="T25" fmla="*/ 168 h 212"/>
                    <a:gd name="T26" fmla="*/ 85 w 171"/>
                    <a:gd name="T27" fmla="*/ 146 h 212"/>
                    <a:gd name="T28" fmla="*/ 90 w 171"/>
                    <a:gd name="T29" fmla="*/ 157 h 212"/>
                    <a:gd name="T30" fmla="*/ 80 w 171"/>
                    <a:gd name="T31" fmla="*/ 157 h 212"/>
                    <a:gd name="T32" fmla="*/ 129 w 171"/>
                    <a:gd name="T33" fmla="*/ 170 h 212"/>
                    <a:gd name="T34" fmla="*/ 125 w 171"/>
                    <a:gd name="T35" fmla="*/ 174 h 212"/>
                    <a:gd name="T36" fmla="*/ 108 w 171"/>
                    <a:gd name="T37" fmla="*/ 194 h 212"/>
                    <a:gd name="T38" fmla="*/ 49 w 171"/>
                    <a:gd name="T39" fmla="*/ 188 h 212"/>
                    <a:gd name="T40" fmla="*/ 45 w 171"/>
                    <a:gd name="T41" fmla="*/ 170 h 212"/>
                    <a:gd name="T42" fmla="*/ 26 w 171"/>
                    <a:gd name="T43" fmla="*/ 185 h 212"/>
                    <a:gd name="T44" fmla="*/ 41 w 171"/>
                    <a:gd name="T45" fmla="*/ 212 h 212"/>
                    <a:gd name="T46" fmla="*/ 144 w 171"/>
                    <a:gd name="T47" fmla="*/ 197 h 212"/>
                    <a:gd name="T48" fmla="*/ 129 w 171"/>
                    <a:gd name="T49" fmla="*/ 170 h 212"/>
                    <a:gd name="T50" fmla="*/ 127 w 171"/>
                    <a:gd name="T51" fmla="*/ 51 h 212"/>
                    <a:gd name="T52" fmla="*/ 138 w 171"/>
                    <a:gd name="T53" fmla="*/ 65 h 212"/>
                    <a:gd name="T54" fmla="*/ 43 w 171"/>
                    <a:gd name="T55" fmla="*/ 51 h 212"/>
                    <a:gd name="T56" fmla="*/ 43 w 171"/>
                    <a:gd name="T57" fmla="*/ 79 h 212"/>
                    <a:gd name="T58" fmla="*/ 164 w 171"/>
                    <a:gd name="T59" fmla="*/ 65 h 212"/>
                    <a:gd name="T60" fmla="*/ 170 w 171"/>
                    <a:gd name="T61" fmla="*/ 65 h 212"/>
                    <a:gd name="T62" fmla="*/ 137 w 171"/>
                    <a:gd name="T63" fmla="*/ 41 h 212"/>
                    <a:gd name="T64" fmla="*/ 137 w 171"/>
                    <a:gd name="T65" fmla="*/ 89 h 212"/>
                    <a:gd name="T66" fmla="*/ 137 w 171"/>
                    <a:gd name="T67" fmla="*/ 41 h 212"/>
                    <a:gd name="T68" fmla="*/ 34 w 171"/>
                    <a:gd name="T69" fmla="*/ 41 h 212"/>
                    <a:gd name="T70" fmla="*/ 34 w 171"/>
                    <a:gd name="T71" fmla="*/ 89 h 212"/>
                    <a:gd name="T72" fmla="*/ 21 w 171"/>
                    <a:gd name="T73" fmla="*/ 30 h 212"/>
                    <a:gd name="T74" fmla="*/ 21 w 171"/>
                    <a:gd name="T75" fmla="*/ 100 h 212"/>
                    <a:gd name="T76" fmla="*/ 21 w 171"/>
                    <a:gd name="T77" fmla="*/ 3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1" h="212">
                      <a:moveTo>
                        <a:pt x="52" y="175"/>
                      </a:moveTo>
                      <a:cubicBezTo>
                        <a:pt x="51" y="181"/>
                        <a:pt x="56" y="187"/>
                        <a:pt x="62" y="187"/>
                      </a:cubicBezTo>
                      <a:cubicBezTo>
                        <a:pt x="108" y="187"/>
                        <a:pt x="108" y="187"/>
                        <a:pt x="108" y="187"/>
                      </a:cubicBezTo>
                      <a:cubicBezTo>
                        <a:pt x="115" y="187"/>
                        <a:pt x="119" y="181"/>
                        <a:pt x="118" y="175"/>
                      </a:cubicBezTo>
                      <a:cubicBezTo>
                        <a:pt x="118" y="173"/>
                        <a:pt x="118" y="172"/>
                        <a:pt x="117" y="170"/>
                      </a:cubicBezTo>
                      <a:cubicBezTo>
                        <a:pt x="109" y="112"/>
                        <a:pt x="109" y="70"/>
                        <a:pt x="118" y="11"/>
                      </a:cubicBezTo>
                      <a:cubicBezTo>
                        <a:pt x="119" y="5"/>
                        <a:pt x="115" y="0"/>
                        <a:pt x="108" y="0"/>
                      </a:cubicBezTo>
                      <a:cubicBezTo>
                        <a:pt x="62" y="0"/>
                        <a:pt x="62" y="0"/>
                        <a:pt x="62" y="0"/>
                      </a:cubicBezTo>
                      <a:cubicBezTo>
                        <a:pt x="56" y="0"/>
                        <a:pt x="51" y="5"/>
                        <a:pt x="52" y="11"/>
                      </a:cubicBezTo>
                      <a:cubicBezTo>
                        <a:pt x="53" y="19"/>
                        <a:pt x="54" y="27"/>
                        <a:pt x="55" y="34"/>
                      </a:cubicBezTo>
                      <a:cubicBezTo>
                        <a:pt x="74" y="34"/>
                        <a:pt x="74" y="34"/>
                        <a:pt x="74" y="34"/>
                      </a:cubicBezTo>
                      <a:cubicBezTo>
                        <a:pt x="74" y="45"/>
                        <a:pt x="74" y="45"/>
                        <a:pt x="74" y="45"/>
                      </a:cubicBezTo>
                      <a:cubicBezTo>
                        <a:pt x="56" y="45"/>
                        <a:pt x="56" y="45"/>
                        <a:pt x="56" y="45"/>
                      </a:cubicBezTo>
                      <a:cubicBezTo>
                        <a:pt x="57" y="49"/>
                        <a:pt x="57" y="53"/>
                        <a:pt x="58" y="56"/>
                      </a:cubicBezTo>
                      <a:cubicBezTo>
                        <a:pt x="74" y="56"/>
                        <a:pt x="74" y="56"/>
                        <a:pt x="74" y="56"/>
                      </a:cubicBezTo>
                      <a:cubicBezTo>
                        <a:pt x="74" y="67"/>
                        <a:pt x="74" y="67"/>
                        <a:pt x="74" y="67"/>
                      </a:cubicBezTo>
                      <a:cubicBezTo>
                        <a:pt x="58" y="67"/>
                        <a:pt x="58" y="67"/>
                        <a:pt x="58" y="67"/>
                      </a:cubicBezTo>
                      <a:cubicBezTo>
                        <a:pt x="59" y="71"/>
                        <a:pt x="59" y="75"/>
                        <a:pt x="59" y="78"/>
                      </a:cubicBezTo>
                      <a:cubicBezTo>
                        <a:pt x="74" y="78"/>
                        <a:pt x="74" y="78"/>
                        <a:pt x="74" y="78"/>
                      </a:cubicBezTo>
                      <a:cubicBezTo>
                        <a:pt x="74" y="89"/>
                        <a:pt x="74" y="89"/>
                        <a:pt x="74" y="89"/>
                      </a:cubicBezTo>
                      <a:cubicBezTo>
                        <a:pt x="59" y="89"/>
                        <a:pt x="59" y="89"/>
                        <a:pt x="59" y="89"/>
                      </a:cubicBezTo>
                      <a:cubicBezTo>
                        <a:pt x="59" y="115"/>
                        <a:pt x="57" y="140"/>
                        <a:pt x="53" y="170"/>
                      </a:cubicBezTo>
                      <a:cubicBezTo>
                        <a:pt x="53" y="172"/>
                        <a:pt x="52" y="173"/>
                        <a:pt x="52" y="175"/>
                      </a:cubicBezTo>
                      <a:close/>
                      <a:moveTo>
                        <a:pt x="85" y="146"/>
                      </a:moveTo>
                      <a:cubicBezTo>
                        <a:pt x="91" y="146"/>
                        <a:pt x="97" y="151"/>
                        <a:pt x="97" y="157"/>
                      </a:cubicBezTo>
                      <a:cubicBezTo>
                        <a:pt x="97" y="163"/>
                        <a:pt x="91" y="168"/>
                        <a:pt x="85" y="168"/>
                      </a:cubicBezTo>
                      <a:cubicBezTo>
                        <a:pt x="79" y="168"/>
                        <a:pt x="74" y="163"/>
                        <a:pt x="74" y="157"/>
                      </a:cubicBezTo>
                      <a:cubicBezTo>
                        <a:pt x="74" y="151"/>
                        <a:pt x="79" y="146"/>
                        <a:pt x="85" y="146"/>
                      </a:cubicBezTo>
                      <a:close/>
                      <a:moveTo>
                        <a:pt x="85" y="162"/>
                      </a:moveTo>
                      <a:cubicBezTo>
                        <a:pt x="88" y="162"/>
                        <a:pt x="90" y="160"/>
                        <a:pt x="90" y="157"/>
                      </a:cubicBezTo>
                      <a:cubicBezTo>
                        <a:pt x="90" y="154"/>
                        <a:pt x="88" y="152"/>
                        <a:pt x="85" y="152"/>
                      </a:cubicBezTo>
                      <a:cubicBezTo>
                        <a:pt x="82" y="152"/>
                        <a:pt x="80" y="154"/>
                        <a:pt x="80" y="157"/>
                      </a:cubicBezTo>
                      <a:cubicBezTo>
                        <a:pt x="80" y="160"/>
                        <a:pt x="82" y="162"/>
                        <a:pt x="85" y="162"/>
                      </a:cubicBezTo>
                      <a:close/>
                      <a:moveTo>
                        <a:pt x="129" y="170"/>
                      </a:moveTo>
                      <a:cubicBezTo>
                        <a:pt x="125" y="170"/>
                        <a:pt x="125" y="170"/>
                        <a:pt x="125" y="170"/>
                      </a:cubicBezTo>
                      <a:cubicBezTo>
                        <a:pt x="125" y="171"/>
                        <a:pt x="125" y="173"/>
                        <a:pt x="125" y="174"/>
                      </a:cubicBezTo>
                      <a:cubicBezTo>
                        <a:pt x="126" y="179"/>
                        <a:pt x="125" y="184"/>
                        <a:pt x="121" y="188"/>
                      </a:cubicBezTo>
                      <a:cubicBezTo>
                        <a:pt x="118" y="192"/>
                        <a:pt x="114" y="194"/>
                        <a:pt x="108" y="194"/>
                      </a:cubicBezTo>
                      <a:cubicBezTo>
                        <a:pt x="62" y="194"/>
                        <a:pt x="62" y="194"/>
                        <a:pt x="62" y="194"/>
                      </a:cubicBezTo>
                      <a:cubicBezTo>
                        <a:pt x="57" y="194"/>
                        <a:pt x="52" y="192"/>
                        <a:pt x="49" y="188"/>
                      </a:cubicBezTo>
                      <a:cubicBezTo>
                        <a:pt x="45" y="184"/>
                        <a:pt x="44" y="179"/>
                        <a:pt x="45" y="174"/>
                      </a:cubicBezTo>
                      <a:cubicBezTo>
                        <a:pt x="45" y="173"/>
                        <a:pt x="45" y="171"/>
                        <a:pt x="45" y="170"/>
                      </a:cubicBezTo>
                      <a:cubicBezTo>
                        <a:pt x="41" y="170"/>
                        <a:pt x="41" y="170"/>
                        <a:pt x="41" y="170"/>
                      </a:cubicBezTo>
                      <a:cubicBezTo>
                        <a:pt x="33" y="170"/>
                        <a:pt x="26" y="177"/>
                        <a:pt x="26" y="185"/>
                      </a:cubicBezTo>
                      <a:cubicBezTo>
                        <a:pt x="26" y="197"/>
                        <a:pt x="26" y="197"/>
                        <a:pt x="26" y="197"/>
                      </a:cubicBezTo>
                      <a:cubicBezTo>
                        <a:pt x="26" y="205"/>
                        <a:pt x="33" y="212"/>
                        <a:pt x="41" y="212"/>
                      </a:cubicBezTo>
                      <a:cubicBezTo>
                        <a:pt x="129" y="212"/>
                        <a:pt x="129" y="212"/>
                        <a:pt x="129" y="212"/>
                      </a:cubicBezTo>
                      <a:cubicBezTo>
                        <a:pt x="137" y="212"/>
                        <a:pt x="144" y="205"/>
                        <a:pt x="144" y="197"/>
                      </a:cubicBezTo>
                      <a:cubicBezTo>
                        <a:pt x="144" y="185"/>
                        <a:pt x="144" y="185"/>
                        <a:pt x="144" y="185"/>
                      </a:cubicBezTo>
                      <a:cubicBezTo>
                        <a:pt x="144" y="177"/>
                        <a:pt x="137" y="170"/>
                        <a:pt x="129" y="170"/>
                      </a:cubicBezTo>
                      <a:close/>
                      <a:moveTo>
                        <a:pt x="138" y="65"/>
                      </a:moveTo>
                      <a:cubicBezTo>
                        <a:pt x="138" y="58"/>
                        <a:pt x="133" y="52"/>
                        <a:pt x="127" y="51"/>
                      </a:cubicBezTo>
                      <a:cubicBezTo>
                        <a:pt x="135" y="58"/>
                        <a:pt x="135" y="72"/>
                        <a:pt x="127" y="79"/>
                      </a:cubicBezTo>
                      <a:cubicBezTo>
                        <a:pt x="133" y="78"/>
                        <a:pt x="138" y="72"/>
                        <a:pt x="138" y="65"/>
                      </a:cubicBezTo>
                      <a:close/>
                      <a:moveTo>
                        <a:pt x="43" y="79"/>
                      </a:moveTo>
                      <a:cubicBezTo>
                        <a:pt x="35" y="72"/>
                        <a:pt x="35" y="58"/>
                        <a:pt x="43" y="51"/>
                      </a:cubicBezTo>
                      <a:cubicBezTo>
                        <a:pt x="38" y="52"/>
                        <a:pt x="32" y="58"/>
                        <a:pt x="33" y="65"/>
                      </a:cubicBezTo>
                      <a:cubicBezTo>
                        <a:pt x="32" y="72"/>
                        <a:pt x="38" y="78"/>
                        <a:pt x="43" y="79"/>
                      </a:cubicBezTo>
                      <a:close/>
                      <a:moveTo>
                        <a:pt x="150" y="30"/>
                      </a:moveTo>
                      <a:cubicBezTo>
                        <a:pt x="159" y="39"/>
                        <a:pt x="164" y="52"/>
                        <a:pt x="164" y="65"/>
                      </a:cubicBezTo>
                      <a:cubicBezTo>
                        <a:pt x="164" y="78"/>
                        <a:pt x="159" y="91"/>
                        <a:pt x="150" y="100"/>
                      </a:cubicBezTo>
                      <a:cubicBezTo>
                        <a:pt x="160" y="95"/>
                        <a:pt x="171" y="81"/>
                        <a:pt x="170" y="65"/>
                      </a:cubicBezTo>
                      <a:cubicBezTo>
                        <a:pt x="171" y="49"/>
                        <a:pt x="160" y="35"/>
                        <a:pt x="150" y="30"/>
                      </a:cubicBezTo>
                      <a:close/>
                      <a:moveTo>
                        <a:pt x="137" y="41"/>
                      </a:moveTo>
                      <a:cubicBezTo>
                        <a:pt x="143" y="47"/>
                        <a:pt x="147" y="56"/>
                        <a:pt x="147" y="65"/>
                      </a:cubicBezTo>
                      <a:cubicBezTo>
                        <a:pt x="147" y="74"/>
                        <a:pt x="143" y="83"/>
                        <a:pt x="137" y="89"/>
                      </a:cubicBezTo>
                      <a:cubicBezTo>
                        <a:pt x="145" y="86"/>
                        <a:pt x="153" y="77"/>
                        <a:pt x="153" y="65"/>
                      </a:cubicBezTo>
                      <a:cubicBezTo>
                        <a:pt x="153" y="53"/>
                        <a:pt x="145" y="44"/>
                        <a:pt x="137" y="41"/>
                      </a:cubicBezTo>
                      <a:close/>
                      <a:moveTo>
                        <a:pt x="23" y="65"/>
                      </a:moveTo>
                      <a:cubicBezTo>
                        <a:pt x="23" y="56"/>
                        <a:pt x="27" y="47"/>
                        <a:pt x="34" y="41"/>
                      </a:cubicBezTo>
                      <a:cubicBezTo>
                        <a:pt x="26" y="44"/>
                        <a:pt x="17" y="53"/>
                        <a:pt x="17" y="65"/>
                      </a:cubicBezTo>
                      <a:cubicBezTo>
                        <a:pt x="17" y="77"/>
                        <a:pt x="26" y="86"/>
                        <a:pt x="34" y="89"/>
                      </a:cubicBezTo>
                      <a:cubicBezTo>
                        <a:pt x="27" y="83"/>
                        <a:pt x="23" y="74"/>
                        <a:pt x="23" y="65"/>
                      </a:cubicBezTo>
                      <a:close/>
                      <a:moveTo>
                        <a:pt x="21" y="30"/>
                      </a:moveTo>
                      <a:cubicBezTo>
                        <a:pt x="10" y="35"/>
                        <a:pt x="0" y="49"/>
                        <a:pt x="0" y="65"/>
                      </a:cubicBezTo>
                      <a:cubicBezTo>
                        <a:pt x="0" y="81"/>
                        <a:pt x="10" y="95"/>
                        <a:pt x="21" y="100"/>
                      </a:cubicBezTo>
                      <a:cubicBezTo>
                        <a:pt x="11" y="91"/>
                        <a:pt x="6" y="78"/>
                        <a:pt x="6" y="65"/>
                      </a:cubicBezTo>
                      <a:cubicBezTo>
                        <a:pt x="6" y="52"/>
                        <a:pt x="11" y="39"/>
                        <a:pt x="21" y="3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5" name="Freeform 196"/>
                <p:cNvSpPr>
                  <a:spLocks noEditPoints="1"/>
                </p:cNvSpPr>
                <p:nvPr/>
              </p:nvSpPr>
              <p:spPr bwMode="auto">
                <a:xfrm rot="5400000">
                  <a:off x="10331851" y="762351"/>
                  <a:ext cx="215389" cy="215806"/>
                </a:xfrm>
                <a:custGeom>
                  <a:avLst/>
                  <a:gdLst>
                    <a:gd name="T0" fmla="*/ 155 w 196"/>
                    <a:gd name="T1" fmla="*/ 76 h 190"/>
                    <a:gd name="T2" fmla="*/ 147 w 196"/>
                    <a:gd name="T3" fmla="*/ 29 h 190"/>
                    <a:gd name="T4" fmla="*/ 117 w 196"/>
                    <a:gd name="T5" fmla="*/ 28 h 190"/>
                    <a:gd name="T6" fmla="*/ 92 w 196"/>
                    <a:gd name="T7" fmla="*/ 0 h 190"/>
                    <a:gd name="T8" fmla="*/ 70 w 196"/>
                    <a:gd name="T9" fmla="*/ 36 h 190"/>
                    <a:gd name="T10" fmla="*/ 35 w 196"/>
                    <a:gd name="T11" fmla="*/ 28 h 190"/>
                    <a:gd name="T12" fmla="*/ 21 w 196"/>
                    <a:gd name="T13" fmla="*/ 73 h 190"/>
                    <a:gd name="T14" fmla="*/ 0 w 196"/>
                    <a:gd name="T15" fmla="*/ 99 h 190"/>
                    <a:gd name="T16" fmla="*/ 29 w 196"/>
                    <a:gd name="T17" fmla="*/ 121 h 190"/>
                    <a:gd name="T18" fmla="*/ 14 w 196"/>
                    <a:gd name="T19" fmla="*/ 163 h 190"/>
                    <a:gd name="T20" fmla="*/ 66 w 196"/>
                    <a:gd name="T21" fmla="*/ 170 h 190"/>
                    <a:gd name="T22" fmla="*/ 91 w 196"/>
                    <a:gd name="T23" fmla="*/ 190 h 190"/>
                    <a:gd name="T24" fmla="*/ 93 w 196"/>
                    <a:gd name="T25" fmla="*/ 190 h 190"/>
                    <a:gd name="T26" fmla="*/ 102 w 196"/>
                    <a:gd name="T27" fmla="*/ 169 h 190"/>
                    <a:gd name="T28" fmla="*/ 143 w 196"/>
                    <a:gd name="T29" fmla="*/ 162 h 190"/>
                    <a:gd name="T30" fmla="*/ 161 w 196"/>
                    <a:gd name="T31" fmla="*/ 151 h 190"/>
                    <a:gd name="T32" fmla="*/ 178 w 196"/>
                    <a:gd name="T33" fmla="*/ 110 h 190"/>
                    <a:gd name="T34" fmla="*/ 167 w 196"/>
                    <a:gd name="T35" fmla="*/ 119 h 190"/>
                    <a:gd name="T36" fmla="*/ 119 w 196"/>
                    <a:gd name="T37" fmla="*/ 111 h 190"/>
                    <a:gd name="T38" fmla="*/ 158 w 196"/>
                    <a:gd name="T39" fmla="*/ 150 h 190"/>
                    <a:gd name="T40" fmla="*/ 112 w 196"/>
                    <a:gd name="T41" fmla="*/ 121 h 190"/>
                    <a:gd name="T42" fmla="*/ 123 w 196"/>
                    <a:gd name="T43" fmla="*/ 152 h 190"/>
                    <a:gd name="T44" fmla="*/ 103 w 196"/>
                    <a:gd name="T45" fmla="*/ 127 h 190"/>
                    <a:gd name="T46" fmla="*/ 99 w 196"/>
                    <a:gd name="T47" fmla="*/ 167 h 190"/>
                    <a:gd name="T48" fmla="*/ 91 w 196"/>
                    <a:gd name="T49" fmla="*/ 129 h 190"/>
                    <a:gd name="T50" fmla="*/ 75 w 196"/>
                    <a:gd name="T51" fmla="*/ 161 h 190"/>
                    <a:gd name="T52" fmla="*/ 69 w 196"/>
                    <a:gd name="T53" fmla="*/ 152 h 190"/>
                    <a:gd name="T54" fmla="*/ 37 w 196"/>
                    <a:gd name="T55" fmla="*/ 155 h 190"/>
                    <a:gd name="T56" fmla="*/ 31 w 196"/>
                    <a:gd name="T57" fmla="*/ 151 h 190"/>
                    <a:gd name="T58" fmla="*/ 47 w 196"/>
                    <a:gd name="T59" fmla="*/ 118 h 190"/>
                    <a:gd name="T60" fmla="*/ 38 w 196"/>
                    <a:gd name="T61" fmla="*/ 112 h 190"/>
                    <a:gd name="T62" fmla="*/ 62 w 196"/>
                    <a:gd name="T63" fmla="*/ 100 h 190"/>
                    <a:gd name="T64" fmla="*/ 21 w 196"/>
                    <a:gd name="T65" fmla="*/ 89 h 190"/>
                    <a:gd name="T66" fmla="*/ 64 w 196"/>
                    <a:gd name="T67" fmla="*/ 88 h 190"/>
                    <a:gd name="T68" fmla="*/ 33 w 196"/>
                    <a:gd name="T69" fmla="*/ 64 h 190"/>
                    <a:gd name="T70" fmla="*/ 70 w 196"/>
                    <a:gd name="T71" fmla="*/ 78 h 190"/>
                    <a:gd name="T72" fmla="*/ 60 w 196"/>
                    <a:gd name="T73" fmla="*/ 46 h 190"/>
                    <a:gd name="T74" fmla="*/ 81 w 196"/>
                    <a:gd name="T75" fmla="*/ 71 h 190"/>
                    <a:gd name="T76" fmla="*/ 86 w 196"/>
                    <a:gd name="T77" fmla="*/ 25 h 190"/>
                    <a:gd name="T78" fmla="*/ 93 w 196"/>
                    <a:gd name="T79" fmla="*/ 69 h 190"/>
                    <a:gd name="T80" fmla="*/ 108 w 196"/>
                    <a:gd name="T81" fmla="*/ 37 h 190"/>
                    <a:gd name="T82" fmla="*/ 115 w 196"/>
                    <a:gd name="T83" fmla="*/ 46 h 190"/>
                    <a:gd name="T84" fmla="*/ 134 w 196"/>
                    <a:gd name="T85" fmla="*/ 43 h 190"/>
                    <a:gd name="T86" fmla="*/ 139 w 196"/>
                    <a:gd name="T87" fmla="*/ 53 h 190"/>
                    <a:gd name="T88" fmla="*/ 137 w 196"/>
                    <a:gd name="T89" fmla="*/ 79 h 190"/>
                    <a:gd name="T90" fmla="*/ 146 w 196"/>
                    <a:gd name="T91" fmla="*/ 86 h 190"/>
                    <a:gd name="T92" fmla="*/ 122 w 196"/>
                    <a:gd name="T93" fmla="*/ 97 h 190"/>
                    <a:gd name="T94" fmla="*/ 175 w 196"/>
                    <a:gd name="T95" fmla="*/ 109 h 190"/>
                    <a:gd name="T96" fmla="*/ 116 w 196"/>
                    <a:gd name="T97" fmla="*/ 88 h 190"/>
                    <a:gd name="T98" fmla="*/ 101 w 196"/>
                    <a:gd name="T99" fmla="*/ 74 h 190"/>
                    <a:gd name="T100" fmla="*/ 83 w 196"/>
                    <a:gd name="T101" fmla="*/ 74 h 190"/>
                    <a:gd name="T102" fmla="*/ 68 w 196"/>
                    <a:gd name="T103" fmla="*/ 88 h 190"/>
                    <a:gd name="T104" fmla="*/ 66 w 196"/>
                    <a:gd name="T105" fmla="*/ 100 h 190"/>
                    <a:gd name="T106" fmla="*/ 74 w 196"/>
                    <a:gd name="T107" fmla="*/ 118 h 190"/>
                    <a:gd name="T108" fmla="*/ 92 w 196"/>
                    <a:gd name="T109" fmla="*/ 125 h 190"/>
                    <a:gd name="T110" fmla="*/ 109 w 196"/>
                    <a:gd name="T111" fmla="*/ 118 h 190"/>
                    <a:gd name="T112" fmla="*/ 118 w 196"/>
                    <a:gd name="T113" fmla="*/ 10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6" h="190">
                      <a:moveTo>
                        <a:pt x="183" y="85"/>
                      </a:moveTo>
                      <a:cubicBezTo>
                        <a:pt x="179" y="85"/>
                        <a:pt x="175" y="87"/>
                        <a:pt x="173" y="91"/>
                      </a:cubicBezTo>
                      <a:cubicBezTo>
                        <a:pt x="154" y="81"/>
                        <a:pt x="154" y="81"/>
                        <a:pt x="154" y="81"/>
                      </a:cubicBezTo>
                      <a:cubicBezTo>
                        <a:pt x="155" y="79"/>
                        <a:pt x="155" y="78"/>
                        <a:pt x="155" y="76"/>
                      </a:cubicBezTo>
                      <a:cubicBezTo>
                        <a:pt x="155" y="72"/>
                        <a:pt x="152" y="68"/>
                        <a:pt x="148" y="67"/>
                      </a:cubicBezTo>
                      <a:cubicBezTo>
                        <a:pt x="149" y="56"/>
                        <a:pt x="149" y="56"/>
                        <a:pt x="149" y="56"/>
                      </a:cubicBezTo>
                      <a:cubicBezTo>
                        <a:pt x="155" y="55"/>
                        <a:pt x="161" y="49"/>
                        <a:pt x="161" y="43"/>
                      </a:cubicBezTo>
                      <a:cubicBezTo>
                        <a:pt x="161" y="35"/>
                        <a:pt x="155" y="29"/>
                        <a:pt x="147" y="29"/>
                      </a:cubicBezTo>
                      <a:cubicBezTo>
                        <a:pt x="142" y="29"/>
                        <a:pt x="137" y="33"/>
                        <a:pt x="135" y="38"/>
                      </a:cubicBezTo>
                      <a:cubicBezTo>
                        <a:pt x="127" y="37"/>
                        <a:pt x="127" y="37"/>
                        <a:pt x="127" y="37"/>
                      </a:cubicBezTo>
                      <a:cubicBezTo>
                        <a:pt x="127" y="37"/>
                        <a:pt x="127" y="37"/>
                        <a:pt x="127" y="37"/>
                      </a:cubicBezTo>
                      <a:cubicBezTo>
                        <a:pt x="127" y="32"/>
                        <a:pt x="122" y="28"/>
                        <a:pt x="117" y="28"/>
                      </a:cubicBezTo>
                      <a:cubicBezTo>
                        <a:pt x="115" y="28"/>
                        <a:pt x="113" y="29"/>
                        <a:pt x="111" y="30"/>
                      </a:cubicBezTo>
                      <a:cubicBezTo>
                        <a:pt x="102" y="22"/>
                        <a:pt x="102" y="22"/>
                        <a:pt x="102" y="22"/>
                      </a:cubicBezTo>
                      <a:cubicBezTo>
                        <a:pt x="104" y="20"/>
                        <a:pt x="105" y="17"/>
                        <a:pt x="105" y="14"/>
                      </a:cubicBezTo>
                      <a:cubicBezTo>
                        <a:pt x="105" y="6"/>
                        <a:pt x="99" y="0"/>
                        <a:pt x="92" y="0"/>
                      </a:cubicBezTo>
                      <a:cubicBezTo>
                        <a:pt x="85" y="0"/>
                        <a:pt x="79" y="6"/>
                        <a:pt x="79" y="14"/>
                      </a:cubicBezTo>
                      <a:cubicBezTo>
                        <a:pt x="79" y="17"/>
                        <a:pt x="80" y="21"/>
                        <a:pt x="83" y="23"/>
                      </a:cubicBezTo>
                      <a:cubicBezTo>
                        <a:pt x="74" y="37"/>
                        <a:pt x="74" y="37"/>
                        <a:pt x="74" y="37"/>
                      </a:cubicBezTo>
                      <a:cubicBezTo>
                        <a:pt x="72" y="36"/>
                        <a:pt x="71" y="36"/>
                        <a:pt x="70" y="36"/>
                      </a:cubicBezTo>
                      <a:cubicBezTo>
                        <a:pt x="65" y="36"/>
                        <a:pt x="61" y="39"/>
                        <a:pt x="60" y="43"/>
                      </a:cubicBezTo>
                      <a:cubicBezTo>
                        <a:pt x="48" y="42"/>
                        <a:pt x="48" y="42"/>
                        <a:pt x="48" y="42"/>
                      </a:cubicBezTo>
                      <a:cubicBezTo>
                        <a:pt x="48" y="42"/>
                        <a:pt x="48" y="42"/>
                        <a:pt x="48" y="42"/>
                      </a:cubicBezTo>
                      <a:cubicBezTo>
                        <a:pt x="48" y="34"/>
                        <a:pt x="42" y="28"/>
                        <a:pt x="35" y="28"/>
                      </a:cubicBezTo>
                      <a:cubicBezTo>
                        <a:pt x="28" y="28"/>
                        <a:pt x="22" y="34"/>
                        <a:pt x="22" y="42"/>
                      </a:cubicBezTo>
                      <a:cubicBezTo>
                        <a:pt x="22" y="48"/>
                        <a:pt x="25" y="52"/>
                        <a:pt x="31" y="54"/>
                      </a:cubicBezTo>
                      <a:cubicBezTo>
                        <a:pt x="30" y="64"/>
                        <a:pt x="30" y="64"/>
                        <a:pt x="30" y="64"/>
                      </a:cubicBezTo>
                      <a:cubicBezTo>
                        <a:pt x="25" y="64"/>
                        <a:pt x="21" y="68"/>
                        <a:pt x="21" y="73"/>
                      </a:cubicBezTo>
                      <a:cubicBezTo>
                        <a:pt x="21" y="76"/>
                        <a:pt x="22" y="78"/>
                        <a:pt x="24" y="80"/>
                      </a:cubicBezTo>
                      <a:cubicBezTo>
                        <a:pt x="19" y="87"/>
                        <a:pt x="19" y="87"/>
                        <a:pt x="19" y="87"/>
                      </a:cubicBezTo>
                      <a:cubicBezTo>
                        <a:pt x="17" y="86"/>
                        <a:pt x="15" y="85"/>
                        <a:pt x="13" y="85"/>
                      </a:cubicBezTo>
                      <a:cubicBezTo>
                        <a:pt x="5" y="85"/>
                        <a:pt x="0" y="91"/>
                        <a:pt x="0" y="99"/>
                      </a:cubicBezTo>
                      <a:cubicBezTo>
                        <a:pt x="0" y="106"/>
                        <a:pt x="5" y="112"/>
                        <a:pt x="13" y="112"/>
                      </a:cubicBezTo>
                      <a:cubicBezTo>
                        <a:pt x="16" y="112"/>
                        <a:pt x="19" y="111"/>
                        <a:pt x="21" y="109"/>
                      </a:cubicBezTo>
                      <a:cubicBezTo>
                        <a:pt x="30" y="116"/>
                        <a:pt x="30" y="116"/>
                        <a:pt x="30" y="116"/>
                      </a:cubicBezTo>
                      <a:cubicBezTo>
                        <a:pt x="29" y="117"/>
                        <a:pt x="29" y="119"/>
                        <a:pt x="29" y="121"/>
                      </a:cubicBezTo>
                      <a:cubicBezTo>
                        <a:pt x="29" y="124"/>
                        <a:pt x="31" y="127"/>
                        <a:pt x="33" y="129"/>
                      </a:cubicBezTo>
                      <a:cubicBezTo>
                        <a:pt x="28" y="150"/>
                        <a:pt x="28" y="150"/>
                        <a:pt x="28" y="150"/>
                      </a:cubicBezTo>
                      <a:cubicBezTo>
                        <a:pt x="28" y="150"/>
                        <a:pt x="27" y="150"/>
                        <a:pt x="27" y="150"/>
                      </a:cubicBezTo>
                      <a:cubicBezTo>
                        <a:pt x="20" y="150"/>
                        <a:pt x="14" y="156"/>
                        <a:pt x="14" y="163"/>
                      </a:cubicBezTo>
                      <a:cubicBezTo>
                        <a:pt x="14" y="170"/>
                        <a:pt x="20" y="176"/>
                        <a:pt x="27" y="176"/>
                      </a:cubicBezTo>
                      <a:cubicBezTo>
                        <a:pt x="34" y="176"/>
                        <a:pt x="40" y="171"/>
                        <a:pt x="40" y="164"/>
                      </a:cubicBezTo>
                      <a:cubicBezTo>
                        <a:pt x="57" y="163"/>
                        <a:pt x="57" y="163"/>
                        <a:pt x="57" y="163"/>
                      </a:cubicBezTo>
                      <a:cubicBezTo>
                        <a:pt x="58" y="167"/>
                        <a:pt x="62" y="170"/>
                        <a:pt x="66" y="170"/>
                      </a:cubicBezTo>
                      <a:cubicBezTo>
                        <a:pt x="69" y="170"/>
                        <a:pt x="71" y="169"/>
                        <a:pt x="73" y="167"/>
                      </a:cubicBezTo>
                      <a:cubicBezTo>
                        <a:pt x="80" y="172"/>
                        <a:pt x="80" y="172"/>
                        <a:pt x="80" y="172"/>
                      </a:cubicBezTo>
                      <a:cubicBezTo>
                        <a:pt x="79" y="173"/>
                        <a:pt x="79" y="175"/>
                        <a:pt x="79" y="177"/>
                      </a:cubicBezTo>
                      <a:cubicBezTo>
                        <a:pt x="79" y="184"/>
                        <a:pt x="84" y="190"/>
                        <a:pt x="91" y="190"/>
                      </a:cubicBezTo>
                      <a:cubicBezTo>
                        <a:pt x="91" y="190"/>
                        <a:pt x="91" y="190"/>
                        <a:pt x="91" y="190"/>
                      </a:cubicBezTo>
                      <a:cubicBezTo>
                        <a:pt x="91" y="190"/>
                        <a:pt x="91" y="190"/>
                        <a:pt x="91" y="190"/>
                      </a:cubicBezTo>
                      <a:cubicBezTo>
                        <a:pt x="91" y="190"/>
                        <a:pt x="91" y="190"/>
                        <a:pt x="92" y="190"/>
                      </a:cubicBezTo>
                      <a:cubicBezTo>
                        <a:pt x="92" y="190"/>
                        <a:pt x="93" y="190"/>
                        <a:pt x="93" y="190"/>
                      </a:cubicBezTo>
                      <a:cubicBezTo>
                        <a:pt x="93" y="190"/>
                        <a:pt x="93" y="190"/>
                        <a:pt x="93" y="190"/>
                      </a:cubicBezTo>
                      <a:cubicBezTo>
                        <a:pt x="93" y="190"/>
                        <a:pt x="93" y="190"/>
                        <a:pt x="93" y="190"/>
                      </a:cubicBezTo>
                      <a:cubicBezTo>
                        <a:pt x="100" y="190"/>
                        <a:pt x="105" y="184"/>
                        <a:pt x="105" y="177"/>
                      </a:cubicBezTo>
                      <a:cubicBezTo>
                        <a:pt x="105" y="174"/>
                        <a:pt x="104" y="171"/>
                        <a:pt x="102" y="169"/>
                      </a:cubicBezTo>
                      <a:cubicBezTo>
                        <a:pt x="109" y="160"/>
                        <a:pt x="109" y="160"/>
                        <a:pt x="109" y="160"/>
                      </a:cubicBezTo>
                      <a:cubicBezTo>
                        <a:pt x="111" y="161"/>
                        <a:pt x="112" y="162"/>
                        <a:pt x="114" y="162"/>
                      </a:cubicBezTo>
                      <a:cubicBezTo>
                        <a:pt x="117" y="162"/>
                        <a:pt x="120" y="160"/>
                        <a:pt x="122" y="157"/>
                      </a:cubicBezTo>
                      <a:cubicBezTo>
                        <a:pt x="143" y="162"/>
                        <a:pt x="143" y="162"/>
                        <a:pt x="143" y="162"/>
                      </a:cubicBezTo>
                      <a:cubicBezTo>
                        <a:pt x="143" y="162"/>
                        <a:pt x="143" y="163"/>
                        <a:pt x="143" y="163"/>
                      </a:cubicBezTo>
                      <a:cubicBezTo>
                        <a:pt x="143" y="170"/>
                        <a:pt x="149" y="176"/>
                        <a:pt x="157" y="176"/>
                      </a:cubicBezTo>
                      <a:cubicBezTo>
                        <a:pt x="164" y="176"/>
                        <a:pt x="170" y="170"/>
                        <a:pt x="170" y="163"/>
                      </a:cubicBezTo>
                      <a:cubicBezTo>
                        <a:pt x="170" y="158"/>
                        <a:pt x="166" y="153"/>
                        <a:pt x="161" y="151"/>
                      </a:cubicBezTo>
                      <a:cubicBezTo>
                        <a:pt x="163" y="136"/>
                        <a:pt x="163" y="136"/>
                        <a:pt x="163" y="136"/>
                      </a:cubicBezTo>
                      <a:cubicBezTo>
                        <a:pt x="168" y="136"/>
                        <a:pt x="172" y="132"/>
                        <a:pt x="172" y="127"/>
                      </a:cubicBezTo>
                      <a:cubicBezTo>
                        <a:pt x="172" y="124"/>
                        <a:pt x="171" y="122"/>
                        <a:pt x="170" y="121"/>
                      </a:cubicBezTo>
                      <a:cubicBezTo>
                        <a:pt x="178" y="110"/>
                        <a:pt x="178" y="110"/>
                        <a:pt x="178" y="110"/>
                      </a:cubicBezTo>
                      <a:cubicBezTo>
                        <a:pt x="179" y="111"/>
                        <a:pt x="181" y="112"/>
                        <a:pt x="183" y="112"/>
                      </a:cubicBezTo>
                      <a:cubicBezTo>
                        <a:pt x="190" y="112"/>
                        <a:pt x="196" y="106"/>
                        <a:pt x="196" y="98"/>
                      </a:cubicBezTo>
                      <a:cubicBezTo>
                        <a:pt x="196" y="91"/>
                        <a:pt x="190" y="85"/>
                        <a:pt x="183" y="85"/>
                      </a:cubicBezTo>
                      <a:close/>
                      <a:moveTo>
                        <a:pt x="167" y="119"/>
                      </a:moveTo>
                      <a:cubicBezTo>
                        <a:pt x="166" y="118"/>
                        <a:pt x="164" y="117"/>
                        <a:pt x="162" y="117"/>
                      </a:cubicBezTo>
                      <a:cubicBezTo>
                        <a:pt x="158" y="117"/>
                        <a:pt x="155" y="120"/>
                        <a:pt x="154" y="123"/>
                      </a:cubicBezTo>
                      <a:cubicBezTo>
                        <a:pt x="120" y="109"/>
                        <a:pt x="120" y="109"/>
                        <a:pt x="120" y="109"/>
                      </a:cubicBezTo>
                      <a:cubicBezTo>
                        <a:pt x="120" y="110"/>
                        <a:pt x="119" y="110"/>
                        <a:pt x="119" y="111"/>
                      </a:cubicBezTo>
                      <a:cubicBezTo>
                        <a:pt x="153" y="125"/>
                        <a:pt x="153" y="125"/>
                        <a:pt x="153" y="125"/>
                      </a:cubicBezTo>
                      <a:cubicBezTo>
                        <a:pt x="153" y="125"/>
                        <a:pt x="153" y="126"/>
                        <a:pt x="153" y="127"/>
                      </a:cubicBezTo>
                      <a:cubicBezTo>
                        <a:pt x="153" y="131"/>
                        <a:pt x="156" y="135"/>
                        <a:pt x="160" y="136"/>
                      </a:cubicBezTo>
                      <a:cubicBezTo>
                        <a:pt x="158" y="150"/>
                        <a:pt x="158" y="150"/>
                        <a:pt x="158" y="150"/>
                      </a:cubicBezTo>
                      <a:cubicBezTo>
                        <a:pt x="158" y="150"/>
                        <a:pt x="157" y="150"/>
                        <a:pt x="157" y="150"/>
                      </a:cubicBezTo>
                      <a:cubicBezTo>
                        <a:pt x="153" y="150"/>
                        <a:pt x="150" y="151"/>
                        <a:pt x="148" y="153"/>
                      </a:cubicBezTo>
                      <a:cubicBezTo>
                        <a:pt x="114" y="119"/>
                        <a:pt x="114" y="119"/>
                        <a:pt x="114" y="119"/>
                      </a:cubicBezTo>
                      <a:cubicBezTo>
                        <a:pt x="113" y="119"/>
                        <a:pt x="113" y="120"/>
                        <a:pt x="112" y="121"/>
                      </a:cubicBezTo>
                      <a:cubicBezTo>
                        <a:pt x="146" y="155"/>
                        <a:pt x="146" y="155"/>
                        <a:pt x="146" y="155"/>
                      </a:cubicBezTo>
                      <a:cubicBezTo>
                        <a:pt x="145" y="156"/>
                        <a:pt x="145" y="157"/>
                        <a:pt x="144" y="159"/>
                      </a:cubicBezTo>
                      <a:cubicBezTo>
                        <a:pt x="123" y="154"/>
                        <a:pt x="123" y="154"/>
                        <a:pt x="123" y="154"/>
                      </a:cubicBezTo>
                      <a:cubicBezTo>
                        <a:pt x="123" y="153"/>
                        <a:pt x="123" y="153"/>
                        <a:pt x="123" y="152"/>
                      </a:cubicBezTo>
                      <a:cubicBezTo>
                        <a:pt x="123" y="147"/>
                        <a:pt x="119" y="143"/>
                        <a:pt x="114" y="143"/>
                      </a:cubicBezTo>
                      <a:cubicBezTo>
                        <a:pt x="113" y="143"/>
                        <a:pt x="112" y="143"/>
                        <a:pt x="111" y="143"/>
                      </a:cubicBezTo>
                      <a:cubicBezTo>
                        <a:pt x="104" y="126"/>
                        <a:pt x="104" y="126"/>
                        <a:pt x="104" y="126"/>
                      </a:cubicBezTo>
                      <a:cubicBezTo>
                        <a:pt x="104" y="126"/>
                        <a:pt x="103" y="126"/>
                        <a:pt x="103" y="127"/>
                      </a:cubicBezTo>
                      <a:cubicBezTo>
                        <a:pt x="110" y="144"/>
                        <a:pt x="110" y="144"/>
                        <a:pt x="110" y="144"/>
                      </a:cubicBezTo>
                      <a:cubicBezTo>
                        <a:pt x="107" y="145"/>
                        <a:pt x="105" y="149"/>
                        <a:pt x="105" y="152"/>
                      </a:cubicBezTo>
                      <a:cubicBezTo>
                        <a:pt x="105" y="155"/>
                        <a:pt x="105" y="157"/>
                        <a:pt x="107" y="158"/>
                      </a:cubicBezTo>
                      <a:cubicBezTo>
                        <a:pt x="99" y="167"/>
                        <a:pt x="99" y="167"/>
                        <a:pt x="99" y="167"/>
                      </a:cubicBezTo>
                      <a:cubicBezTo>
                        <a:pt x="98" y="165"/>
                        <a:pt x="95" y="164"/>
                        <a:pt x="93" y="164"/>
                      </a:cubicBezTo>
                      <a:cubicBezTo>
                        <a:pt x="93" y="129"/>
                        <a:pt x="93" y="129"/>
                        <a:pt x="93" y="129"/>
                      </a:cubicBezTo>
                      <a:cubicBezTo>
                        <a:pt x="93" y="129"/>
                        <a:pt x="92" y="129"/>
                        <a:pt x="92" y="129"/>
                      </a:cubicBezTo>
                      <a:cubicBezTo>
                        <a:pt x="91" y="129"/>
                        <a:pt x="91" y="129"/>
                        <a:pt x="91" y="129"/>
                      </a:cubicBezTo>
                      <a:cubicBezTo>
                        <a:pt x="91" y="164"/>
                        <a:pt x="91" y="164"/>
                        <a:pt x="91" y="164"/>
                      </a:cubicBezTo>
                      <a:cubicBezTo>
                        <a:pt x="87" y="165"/>
                        <a:pt x="84" y="166"/>
                        <a:pt x="82" y="169"/>
                      </a:cubicBezTo>
                      <a:cubicBezTo>
                        <a:pt x="75" y="164"/>
                        <a:pt x="75" y="164"/>
                        <a:pt x="75" y="164"/>
                      </a:cubicBezTo>
                      <a:cubicBezTo>
                        <a:pt x="75" y="163"/>
                        <a:pt x="75" y="162"/>
                        <a:pt x="75" y="161"/>
                      </a:cubicBezTo>
                      <a:cubicBezTo>
                        <a:pt x="75" y="157"/>
                        <a:pt x="73" y="154"/>
                        <a:pt x="70" y="152"/>
                      </a:cubicBezTo>
                      <a:cubicBezTo>
                        <a:pt x="81" y="127"/>
                        <a:pt x="81" y="127"/>
                        <a:pt x="81" y="127"/>
                      </a:cubicBezTo>
                      <a:cubicBezTo>
                        <a:pt x="81" y="126"/>
                        <a:pt x="80" y="126"/>
                        <a:pt x="80" y="126"/>
                      </a:cubicBezTo>
                      <a:cubicBezTo>
                        <a:pt x="69" y="152"/>
                        <a:pt x="69" y="152"/>
                        <a:pt x="69" y="152"/>
                      </a:cubicBezTo>
                      <a:cubicBezTo>
                        <a:pt x="68" y="151"/>
                        <a:pt x="67" y="151"/>
                        <a:pt x="66" y="151"/>
                      </a:cubicBezTo>
                      <a:cubicBezTo>
                        <a:pt x="61" y="151"/>
                        <a:pt x="57" y="155"/>
                        <a:pt x="57" y="160"/>
                      </a:cubicBezTo>
                      <a:cubicBezTo>
                        <a:pt x="40" y="161"/>
                        <a:pt x="40" y="161"/>
                        <a:pt x="40" y="161"/>
                      </a:cubicBezTo>
                      <a:cubicBezTo>
                        <a:pt x="40" y="159"/>
                        <a:pt x="39" y="157"/>
                        <a:pt x="37" y="155"/>
                      </a:cubicBezTo>
                      <a:cubicBezTo>
                        <a:pt x="72" y="121"/>
                        <a:pt x="72" y="121"/>
                        <a:pt x="72" y="121"/>
                      </a:cubicBezTo>
                      <a:cubicBezTo>
                        <a:pt x="71" y="120"/>
                        <a:pt x="70" y="119"/>
                        <a:pt x="70" y="119"/>
                      </a:cubicBezTo>
                      <a:cubicBezTo>
                        <a:pt x="36" y="153"/>
                        <a:pt x="36" y="153"/>
                        <a:pt x="36" y="153"/>
                      </a:cubicBezTo>
                      <a:cubicBezTo>
                        <a:pt x="34" y="152"/>
                        <a:pt x="33" y="151"/>
                        <a:pt x="31" y="151"/>
                      </a:cubicBezTo>
                      <a:cubicBezTo>
                        <a:pt x="37" y="130"/>
                        <a:pt x="37" y="130"/>
                        <a:pt x="37" y="130"/>
                      </a:cubicBezTo>
                      <a:cubicBezTo>
                        <a:pt x="37" y="130"/>
                        <a:pt x="38" y="130"/>
                        <a:pt x="38" y="130"/>
                      </a:cubicBezTo>
                      <a:cubicBezTo>
                        <a:pt x="43" y="130"/>
                        <a:pt x="48" y="126"/>
                        <a:pt x="48" y="121"/>
                      </a:cubicBezTo>
                      <a:cubicBezTo>
                        <a:pt x="48" y="120"/>
                        <a:pt x="47" y="119"/>
                        <a:pt x="47" y="118"/>
                      </a:cubicBezTo>
                      <a:cubicBezTo>
                        <a:pt x="65" y="111"/>
                        <a:pt x="65" y="111"/>
                        <a:pt x="65" y="111"/>
                      </a:cubicBezTo>
                      <a:cubicBezTo>
                        <a:pt x="64" y="110"/>
                        <a:pt x="64" y="110"/>
                        <a:pt x="64" y="109"/>
                      </a:cubicBezTo>
                      <a:cubicBezTo>
                        <a:pt x="47" y="117"/>
                        <a:pt x="47" y="117"/>
                        <a:pt x="47" y="117"/>
                      </a:cubicBezTo>
                      <a:cubicBezTo>
                        <a:pt x="45" y="114"/>
                        <a:pt x="42" y="112"/>
                        <a:pt x="38" y="112"/>
                      </a:cubicBezTo>
                      <a:cubicBezTo>
                        <a:pt x="36" y="112"/>
                        <a:pt x="34" y="112"/>
                        <a:pt x="32" y="114"/>
                      </a:cubicBezTo>
                      <a:cubicBezTo>
                        <a:pt x="23" y="106"/>
                        <a:pt x="23" y="106"/>
                        <a:pt x="23" y="106"/>
                      </a:cubicBezTo>
                      <a:cubicBezTo>
                        <a:pt x="25" y="104"/>
                        <a:pt x="26" y="102"/>
                        <a:pt x="26" y="100"/>
                      </a:cubicBezTo>
                      <a:cubicBezTo>
                        <a:pt x="62" y="100"/>
                        <a:pt x="62" y="100"/>
                        <a:pt x="62" y="100"/>
                      </a:cubicBezTo>
                      <a:cubicBezTo>
                        <a:pt x="62" y="100"/>
                        <a:pt x="62" y="99"/>
                        <a:pt x="62" y="99"/>
                      </a:cubicBezTo>
                      <a:cubicBezTo>
                        <a:pt x="62" y="98"/>
                        <a:pt x="62" y="98"/>
                        <a:pt x="62" y="97"/>
                      </a:cubicBezTo>
                      <a:cubicBezTo>
                        <a:pt x="26" y="97"/>
                        <a:pt x="26" y="97"/>
                        <a:pt x="26" y="97"/>
                      </a:cubicBezTo>
                      <a:cubicBezTo>
                        <a:pt x="26" y="94"/>
                        <a:pt x="24" y="91"/>
                        <a:pt x="21" y="89"/>
                      </a:cubicBezTo>
                      <a:cubicBezTo>
                        <a:pt x="27" y="82"/>
                        <a:pt x="27" y="82"/>
                        <a:pt x="27" y="82"/>
                      </a:cubicBezTo>
                      <a:cubicBezTo>
                        <a:pt x="28" y="82"/>
                        <a:pt x="29" y="82"/>
                        <a:pt x="30" y="82"/>
                      </a:cubicBezTo>
                      <a:cubicBezTo>
                        <a:pt x="34" y="82"/>
                        <a:pt x="37" y="80"/>
                        <a:pt x="39" y="77"/>
                      </a:cubicBezTo>
                      <a:cubicBezTo>
                        <a:pt x="64" y="88"/>
                        <a:pt x="64" y="88"/>
                        <a:pt x="64" y="88"/>
                      </a:cubicBezTo>
                      <a:cubicBezTo>
                        <a:pt x="64" y="87"/>
                        <a:pt x="64" y="87"/>
                        <a:pt x="65" y="86"/>
                      </a:cubicBezTo>
                      <a:cubicBezTo>
                        <a:pt x="39" y="76"/>
                        <a:pt x="39" y="76"/>
                        <a:pt x="39" y="76"/>
                      </a:cubicBezTo>
                      <a:cubicBezTo>
                        <a:pt x="39" y="75"/>
                        <a:pt x="40" y="74"/>
                        <a:pt x="40" y="73"/>
                      </a:cubicBezTo>
                      <a:cubicBezTo>
                        <a:pt x="40" y="69"/>
                        <a:pt x="37" y="65"/>
                        <a:pt x="33" y="64"/>
                      </a:cubicBezTo>
                      <a:cubicBezTo>
                        <a:pt x="34" y="55"/>
                        <a:pt x="34" y="55"/>
                        <a:pt x="34" y="55"/>
                      </a:cubicBezTo>
                      <a:cubicBezTo>
                        <a:pt x="34" y="55"/>
                        <a:pt x="35" y="55"/>
                        <a:pt x="35" y="55"/>
                      </a:cubicBezTo>
                      <a:cubicBezTo>
                        <a:pt x="38" y="55"/>
                        <a:pt x="41" y="54"/>
                        <a:pt x="43" y="52"/>
                      </a:cubicBezTo>
                      <a:cubicBezTo>
                        <a:pt x="70" y="78"/>
                        <a:pt x="70" y="78"/>
                        <a:pt x="70" y="78"/>
                      </a:cubicBezTo>
                      <a:cubicBezTo>
                        <a:pt x="70" y="78"/>
                        <a:pt x="71" y="77"/>
                        <a:pt x="72" y="77"/>
                      </a:cubicBezTo>
                      <a:cubicBezTo>
                        <a:pt x="45" y="50"/>
                        <a:pt x="45" y="50"/>
                        <a:pt x="45" y="50"/>
                      </a:cubicBezTo>
                      <a:cubicBezTo>
                        <a:pt x="46" y="49"/>
                        <a:pt x="47" y="47"/>
                        <a:pt x="48" y="45"/>
                      </a:cubicBezTo>
                      <a:cubicBezTo>
                        <a:pt x="60" y="46"/>
                        <a:pt x="60" y="46"/>
                        <a:pt x="60" y="46"/>
                      </a:cubicBezTo>
                      <a:cubicBezTo>
                        <a:pt x="61" y="51"/>
                        <a:pt x="65" y="55"/>
                        <a:pt x="70" y="55"/>
                      </a:cubicBezTo>
                      <a:cubicBezTo>
                        <a:pt x="71" y="55"/>
                        <a:pt x="72" y="55"/>
                        <a:pt x="73" y="54"/>
                      </a:cubicBezTo>
                      <a:cubicBezTo>
                        <a:pt x="80" y="71"/>
                        <a:pt x="80" y="71"/>
                        <a:pt x="80" y="71"/>
                      </a:cubicBezTo>
                      <a:cubicBezTo>
                        <a:pt x="80" y="71"/>
                        <a:pt x="81" y="71"/>
                        <a:pt x="81" y="71"/>
                      </a:cubicBezTo>
                      <a:cubicBezTo>
                        <a:pt x="74" y="54"/>
                        <a:pt x="74" y="54"/>
                        <a:pt x="74" y="54"/>
                      </a:cubicBezTo>
                      <a:cubicBezTo>
                        <a:pt x="77" y="52"/>
                        <a:pt x="79" y="49"/>
                        <a:pt x="79" y="45"/>
                      </a:cubicBezTo>
                      <a:cubicBezTo>
                        <a:pt x="79" y="43"/>
                        <a:pt x="78" y="40"/>
                        <a:pt x="76" y="39"/>
                      </a:cubicBezTo>
                      <a:cubicBezTo>
                        <a:pt x="86" y="25"/>
                        <a:pt x="86" y="25"/>
                        <a:pt x="86" y="25"/>
                      </a:cubicBezTo>
                      <a:cubicBezTo>
                        <a:pt x="87" y="26"/>
                        <a:pt x="89" y="27"/>
                        <a:pt x="91" y="27"/>
                      </a:cubicBezTo>
                      <a:cubicBezTo>
                        <a:pt x="91" y="69"/>
                        <a:pt x="91" y="69"/>
                        <a:pt x="91" y="69"/>
                      </a:cubicBezTo>
                      <a:cubicBezTo>
                        <a:pt x="91" y="69"/>
                        <a:pt x="91" y="69"/>
                        <a:pt x="92" y="69"/>
                      </a:cubicBezTo>
                      <a:cubicBezTo>
                        <a:pt x="92" y="69"/>
                        <a:pt x="93" y="69"/>
                        <a:pt x="93" y="69"/>
                      </a:cubicBezTo>
                      <a:cubicBezTo>
                        <a:pt x="93" y="27"/>
                        <a:pt x="93" y="27"/>
                        <a:pt x="93" y="27"/>
                      </a:cubicBezTo>
                      <a:cubicBezTo>
                        <a:pt x="96" y="26"/>
                        <a:pt x="98" y="26"/>
                        <a:pt x="100" y="24"/>
                      </a:cubicBezTo>
                      <a:cubicBezTo>
                        <a:pt x="109" y="33"/>
                        <a:pt x="109" y="33"/>
                        <a:pt x="109" y="33"/>
                      </a:cubicBezTo>
                      <a:cubicBezTo>
                        <a:pt x="108" y="34"/>
                        <a:pt x="108" y="35"/>
                        <a:pt x="108" y="37"/>
                      </a:cubicBezTo>
                      <a:cubicBezTo>
                        <a:pt x="108" y="41"/>
                        <a:pt x="110" y="44"/>
                        <a:pt x="113" y="45"/>
                      </a:cubicBezTo>
                      <a:cubicBezTo>
                        <a:pt x="103" y="71"/>
                        <a:pt x="103" y="71"/>
                        <a:pt x="103" y="71"/>
                      </a:cubicBezTo>
                      <a:cubicBezTo>
                        <a:pt x="103" y="71"/>
                        <a:pt x="104" y="71"/>
                        <a:pt x="104" y="71"/>
                      </a:cubicBezTo>
                      <a:cubicBezTo>
                        <a:pt x="115" y="46"/>
                        <a:pt x="115" y="46"/>
                        <a:pt x="115" y="46"/>
                      </a:cubicBezTo>
                      <a:cubicBezTo>
                        <a:pt x="115" y="46"/>
                        <a:pt x="116" y="46"/>
                        <a:pt x="117" y="46"/>
                      </a:cubicBezTo>
                      <a:cubicBezTo>
                        <a:pt x="121" y="46"/>
                        <a:pt x="125" y="44"/>
                        <a:pt x="126" y="40"/>
                      </a:cubicBezTo>
                      <a:cubicBezTo>
                        <a:pt x="134" y="41"/>
                        <a:pt x="134" y="41"/>
                        <a:pt x="134" y="41"/>
                      </a:cubicBezTo>
                      <a:cubicBezTo>
                        <a:pt x="134" y="42"/>
                        <a:pt x="134" y="42"/>
                        <a:pt x="134" y="43"/>
                      </a:cubicBezTo>
                      <a:cubicBezTo>
                        <a:pt x="134" y="46"/>
                        <a:pt x="135" y="49"/>
                        <a:pt x="137" y="51"/>
                      </a:cubicBezTo>
                      <a:cubicBezTo>
                        <a:pt x="112" y="77"/>
                        <a:pt x="112" y="77"/>
                        <a:pt x="112" y="77"/>
                      </a:cubicBezTo>
                      <a:cubicBezTo>
                        <a:pt x="113" y="77"/>
                        <a:pt x="113" y="78"/>
                        <a:pt x="114" y="78"/>
                      </a:cubicBezTo>
                      <a:cubicBezTo>
                        <a:pt x="139" y="53"/>
                        <a:pt x="139" y="53"/>
                        <a:pt x="139" y="53"/>
                      </a:cubicBezTo>
                      <a:cubicBezTo>
                        <a:pt x="141" y="54"/>
                        <a:pt x="143" y="55"/>
                        <a:pt x="146" y="56"/>
                      </a:cubicBezTo>
                      <a:cubicBezTo>
                        <a:pt x="145" y="67"/>
                        <a:pt x="145" y="67"/>
                        <a:pt x="145" y="67"/>
                      </a:cubicBezTo>
                      <a:cubicBezTo>
                        <a:pt x="140" y="67"/>
                        <a:pt x="136" y="71"/>
                        <a:pt x="136" y="76"/>
                      </a:cubicBezTo>
                      <a:cubicBezTo>
                        <a:pt x="136" y="77"/>
                        <a:pt x="136" y="78"/>
                        <a:pt x="137" y="79"/>
                      </a:cubicBezTo>
                      <a:cubicBezTo>
                        <a:pt x="119" y="86"/>
                        <a:pt x="119" y="86"/>
                        <a:pt x="119" y="86"/>
                      </a:cubicBezTo>
                      <a:cubicBezTo>
                        <a:pt x="119" y="87"/>
                        <a:pt x="120" y="87"/>
                        <a:pt x="120" y="88"/>
                      </a:cubicBezTo>
                      <a:cubicBezTo>
                        <a:pt x="137" y="81"/>
                        <a:pt x="137" y="81"/>
                        <a:pt x="137" y="81"/>
                      </a:cubicBezTo>
                      <a:cubicBezTo>
                        <a:pt x="139" y="84"/>
                        <a:pt x="142" y="86"/>
                        <a:pt x="146" y="86"/>
                      </a:cubicBezTo>
                      <a:cubicBezTo>
                        <a:pt x="148" y="86"/>
                        <a:pt x="150" y="85"/>
                        <a:pt x="152" y="83"/>
                      </a:cubicBezTo>
                      <a:cubicBezTo>
                        <a:pt x="171" y="93"/>
                        <a:pt x="171" y="93"/>
                        <a:pt x="171" y="93"/>
                      </a:cubicBezTo>
                      <a:cubicBezTo>
                        <a:pt x="170" y="95"/>
                        <a:pt x="170" y="96"/>
                        <a:pt x="170" y="97"/>
                      </a:cubicBezTo>
                      <a:cubicBezTo>
                        <a:pt x="122" y="97"/>
                        <a:pt x="122" y="97"/>
                        <a:pt x="122" y="97"/>
                      </a:cubicBezTo>
                      <a:cubicBezTo>
                        <a:pt x="122" y="98"/>
                        <a:pt x="122" y="98"/>
                        <a:pt x="122" y="99"/>
                      </a:cubicBezTo>
                      <a:cubicBezTo>
                        <a:pt x="122" y="99"/>
                        <a:pt x="122" y="100"/>
                        <a:pt x="122" y="100"/>
                      </a:cubicBezTo>
                      <a:cubicBezTo>
                        <a:pt x="170" y="100"/>
                        <a:pt x="170" y="100"/>
                        <a:pt x="170" y="100"/>
                      </a:cubicBezTo>
                      <a:cubicBezTo>
                        <a:pt x="170" y="103"/>
                        <a:pt x="172" y="107"/>
                        <a:pt x="175" y="109"/>
                      </a:cubicBezTo>
                      <a:cubicBezTo>
                        <a:pt x="167" y="119"/>
                        <a:pt x="167" y="119"/>
                        <a:pt x="167" y="119"/>
                      </a:cubicBezTo>
                      <a:cubicBezTo>
                        <a:pt x="167" y="119"/>
                        <a:pt x="167" y="119"/>
                        <a:pt x="167" y="119"/>
                      </a:cubicBezTo>
                      <a:close/>
                      <a:moveTo>
                        <a:pt x="116" y="89"/>
                      </a:moveTo>
                      <a:cubicBezTo>
                        <a:pt x="116" y="89"/>
                        <a:pt x="116" y="88"/>
                        <a:pt x="116" y="88"/>
                      </a:cubicBezTo>
                      <a:cubicBezTo>
                        <a:pt x="114" y="85"/>
                        <a:pt x="113" y="83"/>
                        <a:pt x="111" y="81"/>
                      </a:cubicBezTo>
                      <a:cubicBezTo>
                        <a:pt x="111" y="81"/>
                        <a:pt x="110" y="80"/>
                        <a:pt x="109" y="79"/>
                      </a:cubicBezTo>
                      <a:cubicBezTo>
                        <a:pt x="107" y="78"/>
                        <a:pt x="105" y="76"/>
                        <a:pt x="103" y="75"/>
                      </a:cubicBezTo>
                      <a:cubicBezTo>
                        <a:pt x="102" y="75"/>
                        <a:pt x="102" y="74"/>
                        <a:pt x="101" y="74"/>
                      </a:cubicBezTo>
                      <a:cubicBezTo>
                        <a:pt x="99" y="73"/>
                        <a:pt x="96" y="73"/>
                        <a:pt x="93" y="73"/>
                      </a:cubicBezTo>
                      <a:cubicBezTo>
                        <a:pt x="93" y="73"/>
                        <a:pt x="92" y="73"/>
                        <a:pt x="92" y="73"/>
                      </a:cubicBezTo>
                      <a:cubicBezTo>
                        <a:pt x="91" y="73"/>
                        <a:pt x="91" y="73"/>
                        <a:pt x="91" y="73"/>
                      </a:cubicBezTo>
                      <a:cubicBezTo>
                        <a:pt x="88" y="73"/>
                        <a:pt x="85" y="73"/>
                        <a:pt x="83" y="74"/>
                      </a:cubicBezTo>
                      <a:cubicBezTo>
                        <a:pt x="82" y="74"/>
                        <a:pt x="82" y="75"/>
                        <a:pt x="81" y="75"/>
                      </a:cubicBezTo>
                      <a:cubicBezTo>
                        <a:pt x="79" y="76"/>
                        <a:pt x="76" y="78"/>
                        <a:pt x="74" y="79"/>
                      </a:cubicBezTo>
                      <a:cubicBezTo>
                        <a:pt x="74" y="80"/>
                        <a:pt x="73" y="81"/>
                        <a:pt x="73" y="81"/>
                      </a:cubicBezTo>
                      <a:cubicBezTo>
                        <a:pt x="71" y="83"/>
                        <a:pt x="69" y="85"/>
                        <a:pt x="68" y="88"/>
                      </a:cubicBezTo>
                      <a:cubicBezTo>
                        <a:pt x="68" y="88"/>
                        <a:pt x="68" y="89"/>
                        <a:pt x="68" y="89"/>
                      </a:cubicBezTo>
                      <a:cubicBezTo>
                        <a:pt x="67" y="92"/>
                        <a:pt x="66" y="95"/>
                        <a:pt x="66" y="97"/>
                      </a:cubicBezTo>
                      <a:cubicBezTo>
                        <a:pt x="66" y="98"/>
                        <a:pt x="66" y="98"/>
                        <a:pt x="66" y="99"/>
                      </a:cubicBezTo>
                      <a:cubicBezTo>
                        <a:pt x="66" y="99"/>
                        <a:pt x="66" y="100"/>
                        <a:pt x="66" y="100"/>
                      </a:cubicBezTo>
                      <a:cubicBezTo>
                        <a:pt x="66" y="103"/>
                        <a:pt x="67" y="105"/>
                        <a:pt x="68" y="108"/>
                      </a:cubicBezTo>
                      <a:cubicBezTo>
                        <a:pt x="68" y="108"/>
                        <a:pt x="68" y="109"/>
                        <a:pt x="68" y="109"/>
                      </a:cubicBezTo>
                      <a:cubicBezTo>
                        <a:pt x="69" y="112"/>
                        <a:pt x="71" y="114"/>
                        <a:pt x="73" y="116"/>
                      </a:cubicBezTo>
                      <a:cubicBezTo>
                        <a:pt x="73" y="117"/>
                        <a:pt x="74" y="117"/>
                        <a:pt x="74" y="118"/>
                      </a:cubicBezTo>
                      <a:cubicBezTo>
                        <a:pt x="76" y="120"/>
                        <a:pt x="79" y="121"/>
                        <a:pt x="81" y="122"/>
                      </a:cubicBezTo>
                      <a:cubicBezTo>
                        <a:pt x="82" y="123"/>
                        <a:pt x="82" y="123"/>
                        <a:pt x="83" y="123"/>
                      </a:cubicBezTo>
                      <a:cubicBezTo>
                        <a:pt x="85" y="124"/>
                        <a:pt x="88" y="124"/>
                        <a:pt x="91" y="125"/>
                      </a:cubicBezTo>
                      <a:cubicBezTo>
                        <a:pt x="91" y="125"/>
                        <a:pt x="91" y="125"/>
                        <a:pt x="92" y="125"/>
                      </a:cubicBezTo>
                      <a:cubicBezTo>
                        <a:pt x="92" y="125"/>
                        <a:pt x="93" y="125"/>
                        <a:pt x="93" y="125"/>
                      </a:cubicBezTo>
                      <a:cubicBezTo>
                        <a:pt x="96" y="124"/>
                        <a:pt x="99" y="124"/>
                        <a:pt x="101" y="123"/>
                      </a:cubicBezTo>
                      <a:cubicBezTo>
                        <a:pt x="102" y="123"/>
                        <a:pt x="102" y="123"/>
                        <a:pt x="103" y="122"/>
                      </a:cubicBezTo>
                      <a:cubicBezTo>
                        <a:pt x="105" y="121"/>
                        <a:pt x="107" y="120"/>
                        <a:pt x="109" y="118"/>
                      </a:cubicBezTo>
                      <a:cubicBezTo>
                        <a:pt x="110" y="117"/>
                        <a:pt x="111" y="117"/>
                        <a:pt x="111" y="116"/>
                      </a:cubicBezTo>
                      <a:cubicBezTo>
                        <a:pt x="113" y="114"/>
                        <a:pt x="114" y="112"/>
                        <a:pt x="116" y="109"/>
                      </a:cubicBezTo>
                      <a:cubicBezTo>
                        <a:pt x="116" y="109"/>
                        <a:pt x="116" y="108"/>
                        <a:pt x="116" y="108"/>
                      </a:cubicBezTo>
                      <a:cubicBezTo>
                        <a:pt x="117" y="105"/>
                        <a:pt x="118" y="103"/>
                        <a:pt x="118" y="100"/>
                      </a:cubicBezTo>
                      <a:cubicBezTo>
                        <a:pt x="118" y="100"/>
                        <a:pt x="118" y="99"/>
                        <a:pt x="118" y="99"/>
                      </a:cubicBezTo>
                      <a:cubicBezTo>
                        <a:pt x="118" y="98"/>
                        <a:pt x="118" y="98"/>
                        <a:pt x="118" y="97"/>
                      </a:cubicBezTo>
                      <a:cubicBezTo>
                        <a:pt x="118" y="95"/>
                        <a:pt x="117" y="92"/>
                        <a:pt x="116" y="89"/>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6" name="Freeform 197"/>
                <p:cNvSpPr>
                  <a:spLocks noEditPoints="1"/>
                </p:cNvSpPr>
                <p:nvPr/>
              </p:nvSpPr>
              <p:spPr bwMode="auto">
                <a:xfrm>
                  <a:off x="10442526" y="1165154"/>
                  <a:ext cx="353646" cy="226371"/>
                </a:xfrm>
                <a:custGeom>
                  <a:avLst/>
                  <a:gdLst>
                    <a:gd name="T0" fmla="*/ 149 w 323"/>
                    <a:gd name="T1" fmla="*/ 198 h 198"/>
                    <a:gd name="T2" fmla="*/ 192 w 323"/>
                    <a:gd name="T3" fmla="*/ 172 h 198"/>
                    <a:gd name="T4" fmla="*/ 139 w 323"/>
                    <a:gd name="T5" fmla="*/ 191 h 198"/>
                    <a:gd name="T6" fmla="*/ 146 w 323"/>
                    <a:gd name="T7" fmla="*/ 192 h 198"/>
                    <a:gd name="T8" fmla="*/ 184 w 323"/>
                    <a:gd name="T9" fmla="*/ 180 h 198"/>
                    <a:gd name="T10" fmla="*/ 98 w 323"/>
                    <a:gd name="T11" fmla="*/ 109 h 198"/>
                    <a:gd name="T12" fmla="*/ 187 w 323"/>
                    <a:gd name="T13" fmla="*/ 113 h 198"/>
                    <a:gd name="T14" fmla="*/ 234 w 323"/>
                    <a:gd name="T15" fmla="*/ 76 h 198"/>
                    <a:gd name="T16" fmla="*/ 83 w 323"/>
                    <a:gd name="T17" fmla="*/ 31 h 198"/>
                    <a:gd name="T18" fmla="*/ 178 w 323"/>
                    <a:gd name="T19" fmla="*/ 79 h 198"/>
                    <a:gd name="T20" fmla="*/ 176 w 323"/>
                    <a:gd name="T21" fmla="*/ 58 h 198"/>
                    <a:gd name="T22" fmla="*/ 196 w 323"/>
                    <a:gd name="T23" fmla="*/ 49 h 198"/>
                    <a:gd name="T24" fmla="*/ 153 w 323"/>
                    <a:gd name="T25" fmla="*/ 30 h 198"/>
                    <a:gd name="T26" fmla="*/ 215 w 323"/>
                    <a:gd name="T27" fmla="*/ 89 h 198"/>
                    <a:gd name="T28" fmla="*/ 208 w 323"/>
                    <a:gd name="T29" fmla="*/ 44 h 198"/>
                    <a:gd name="T30" fmla="*/ 189 w 323"/>
                    <a:gd name="T31" fmla="*/ 21 h 198"/>
                    <a:gd name="T32" fmla="*/ 189 w 323"/>
                    <a:gd name="T33" fmla="*/ 21 h 198"/>
                    <a:gd name="T34" fmla="*/ 161 w 323"/>
                    <a:gd name="T35" fmla="*/ 7 h 198"/>
                    <a:gd name="T36" fmla="*/ 101 w 323"/>
                    <a:gd name="T37" fmla="*/ 57 h 198"/>
                    <a:gd name="T38" fmla="*/ 101 w 323"/>
                    <a:gd name="T39" fmla="*/ 49 h 198"/>
                    <a:gd name="T40" fmla="*/ 121 w 323"/>
                    <a:gd name="T41" fmla="*/ 58 h 198"/>
                    <a:gd name="T42" fmla="*/ 115 w 323"/>
                    <a:gd name="T43" fmla="*/ 89 h 198"/>
                    <a:gd name="T44" fmla="*/ 144 w 323"/>
                    <a:gd name="T45" fmla="*/ 30 h 198"/>
                    <a:gd name="T46" fmla="*/ 123 w 323"/>
                    <a:gd name="T47" fmla="*/ 11 h 198"/>
                    <a:gd name="T48" fmla="*/ 114 w 323"/>
                    <a:gd name="T49" fmla="*/ 19 h 198"/>
                    <a:gd name="T50" fmla="*/ 87 w 323"/>
                    <a:gd name="T51" fmla="*/ 38 h 198"/>
                    <a:gd name="T52" fmla="*/ 97 w 323"/>
                    <a:gd name="T53" fmla="*/ 54 h 198"/>
                    <a:gd name="T54" fmla="*/ 46 w 323"/>
                    <a:gd name="T55" fmla="*/ 101 h 198"/>
                    <a:gd name="T56" fmla="*/ 156 w 323"/>
                    <a:gd name="T57" fmla="*/ 141 h 198"/>
                    <a:gd name="T58" fmla="*/ 241 w 323"/>
                    <a:gd name="T59" fmla="*/ 83 h 198"/>
                    <a:gd name="T60" fmla="*/ 0 w 323"/>
                    <a:gd name="T61" fmla="*/ 119 h 198"/>
                    <a:gd name="T62" fmla="*/ 146 w 323"/>
                    <a:gd name="T63" fmla="*/ 169 h 198"/>
                    <a:gd name="T64" fmla="*/ 241 w 323"/>
                    <a:gd name="T65" fmla="*/ 123 h 198"/>
                    <a:gd name="T66" fmla="*/ 12 w 323"/>
                    <a:gd name="T67" fmla="*/ 108 h 198"/>
                    <a:gd name="T68" fmla="*/ 28 w 323"/>
                    <a:gd name="T69" fmla="*/ 108 h 198"/>
                    <a:gd name="T70" fmla="*/ 65 w 323"/>
                    <a:gd name="T71" fmla="*/ 127 h 198"/>
                    <a:gd name="T72" fmla="*/ 61 w 323"/>
                    <a:gd name="T73" fmla="*/ 101 h 198"/>
                    <a:gd name="T74" fmla="*/ 64 w 323"/>
                    <a:gd name="T75" fmla="*/ 113 h 198"/>
                    <a:gd name="T76" fmla="*/ 72 w 323"/>
                    <a:gd name="T77" fmla="*/ 130 h 198"/>
                    <a:gd name="T78" fmla="*/ 72 w 323"/>
                    <a:gd name="T79" fmla="*/ 114 h 198"/>
                    <a:gd name="T80" fmla="*/ 87 w 323"/>
                    <a:gd name="T81" fmla="*/ 141 h 198"/>
                    <a:gd name="T82" fmla="*/ 94 w 323"/>
                    <a:gd name="T83" fmla="*/ 129 h 198"/>
                    <a:gd name="T84" fmla="*/ 127 w 323"/>
                    <a:gd name="T85" fmla="*/ 154 h 198"/>
                    <a:gd name="T86" fmla="*/ 132 w 323"/>
                    <a:gd name="T87" fmla="*/ 139 h 198"/>
                    <a:gd name="T88" fmla="*/ 148 w 323"/>
                    <a:gd name="T89" fmla="*/ 145 h 198"/>
                    <a:gd name="T90" fmla="*/ 195 w 323"/>
                    <a:gd name="T91" fmla="*/ 153 h 198"/>
                    <a:gd name="T92" fmla="*/ 180 w 323"/>
                    <a:gd name="T93" fmla="*/ 140 h 198"/>
                    <a:gd name="T94" fmla="*/ 192 w 323"/>
                    <a:gd name="T95" fmla="*/ 150 h 198"/>
                    <a:gd name="T96" fmla="*/ 214 w 323"/>
                    <a:gd name="T97" fmla="*/ 141 h 198"/>
                    <a:gd name="T98" fmla="*/ 218 w 323"/>
                    <a:gd name="T99" fmla="*/ 121 h 198"/>
                    <a:gd name="T100" fmla="*/ 234 w 323"/>
                    <a:gd name="T101" fmla="*/ 130 h 198"/>
                    <a:gd name="T102" fmla="*/ 237 w 323"/>
                    <a:gd name="T103" fmla="*/ 104 h 198"/>
                    <a:gd name="T104" fmla="*/ 271 w 323"/>
                    <a:gd name="T105" fmla="*/ 112 h 198"/>
                    <a:gd name="T106" fmla="*/ 281 w 323"/>
                    <a:gd name="T107" fmla="*/ 108 h 198"/>
                    <a:gd name="T108" fmla="*/ 97 w 323"/>
                    <a:gd name="T109" fmla="*/ 136 h 198"/>
                    <a:gd name="T110" fmla="*/ 232 w 323"/>
                    <a:gd name="T111" fmla="*/ 11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3" h="198">
                      <a:moveTo>
                        <a:pt x="148" y="178"/>
                      </a:moveTo>
                      <a:cubicBezTo>
                        <a:pt x="130" y="178"/>
                        <a:pt x="111" y="175"/>
                        <a:pt x="95" y="169"/>
                      </a:cubicBezTo>
                      <a:cubicBezTo>
                        <a:pt x="89" y="167"/>
                        <a:pt x="83" y="164"/>
                        <a:pt x="78" y="161"/>
                      </a:cubicBezTo>
                      <a:cubicBezTo>
                        <a:pt x="84" y="169"/>
                        <a:pt x="92" y="177"/>
                        <a:pt x="101" y="183"/>
                      </a:cubicBezTo>
                      <a:cubicBezTo>
                        <a:pt x="105" y="185"/>
                        <a:pt x="109" y="188"/>
                        <a:pt x="114" y="190"/>
                      </a:cubicBezTo>
                      <a:cubicBezTo>
                        <a:pt x="118" y="192"/>
                        <a:pt x="123" y="194"/>
                        <a:pt x="129" y="195"/>
                      </a:cubicBezTo>
                      <a:cubicBezTo>
                        <a:pt x="135" y="197"/>
                        <a:pt x="142" y="198"/>
                        <a:pt x="149" y="198"/>
                      </a:cubicBezTo>
                      <a:cubicBezTo>
                        <a:pt x="149" y="198"/>
                        <a:pt x="149" y="198"/>
                        <a:pt x="149" y="198"/>
                      </a:cubicBezTo>
                      <a:cubicBezTo>
                        <a:pt x="149" y="198"/>
                        <a:pt x="149" y="198"/>
                        <a:pt x="149" y="198"/>
                      </a:cubicBezTo>
                      <a:cubicBezTo>
                        <a:pt x="149" y="198"/>
                        <a:pt x="149" y="198"/>
                        <a:pt x="149" y="198"/>
                      </a:cubicBezTo>
                      <a:cubicBezTo>
                        <a:pt x="149" y="198"/>
                        <a:pt x="149" y="198"/>
                        <a:pt x="149" y="198"/>
                      </a:cubicBezTo>
                      <a:cubicBezTo>
                        <a:pt x="156" y="198"/>
                        <a:pt x="162" y="197"/>
                        <a:pt x="169" y="195"/>
                      </a:cubicBezTo>
                      <a:cubicBezTo>
                        <a:pt x="174" y="194"/>
                        <a:pt x="179" y="192"/>
                        <a:pt x="184" y="190"/>
                      </a:cubicBezTo>
                      <a:cubicBezTo>
                        <a:pt x="188" y="188"/>
                        <a:pt x="193" y="185"/>
                        <a:pt x="197" y="183"/>
                      </a:cubicBezTo>
                      <a:cubicBezTo>
                        <a:pt x="206" y="177"/>
                        <a:pt x="214" y="169"/>
                        <a:pt x="220" y="160"/>
                      </a:cubicBezTo>
                      <a:cubicBezTo>
                        <a:pt x="212" y="165"/>
                        <a:pt x="202" y="169"/>
                        <a:pt x="192" y="172"/>
                      </a:cubicBezTo>
                      <a:cubicBezTo>
                        <a:pt x="178" y="176"/>
                        <a:pt x="163" y="178"/>
                        <a:pt x="148" y="178"/>
                      </a:cubicBezTo>
                      <a:close/>
                      <a:moveTo>
                        <a:pt x="103" y="178"/>
                      </a:moveTo>
                      <a:cubicBezTo>
                        <a:pt x="102" y="177"/>
                        <a:pt x="100" y="176"/>
                        <a:pt x="99" y="174"/>
                      </a:cubicBezTo>
                      <a:cubicBezTo>
                        <a:pt x="101" y="176"/>
                        <a:pt x="104" y="177"/>
                        <a:pt x="106" y="177"/>
                      </a:cubicBezTo>
                      <a:cubicBezTo>
                        <a:pt x="106" y="178"/>
                        <a:pt x="107" y="179"/>
                        <a:pt x="107" y="179"/>
                      </a:cubicBezTo>
                      <a:cubicBezTo>
                        <a:pt x="106" y="179"/>
                        <a:pt x="105" y="178"/>
                        <a:pt x="103" y="178"/>
                      </a:cubicBezTo>
                      <a:close/>
                      <a:moveTo>
                        <a:pt x="146" y="192"/>
                      </a:moveTo>
                      <a:cubicBezTo>
                        <a:pt x="144" y="192"/>
                        <a:pt x="142" y="192"/>
                        <a:pt x="139" y="191"/>
                      </a:cubicBezTo>
                      <a:cubicBezTo>
                        <a:pt x="136" y="191"/>
                        <a:pt x="132" y="190"/>
                        <a:pt x="129" y="189"/>
                      </a:cubicBezTo>
                      <a:cubicBezTo>
                        <a:pt x="127" y="189"/>
                        <a:pt x="124" y="188"/>
                        <a:pt x="122" y="187"/>
                      </a:cubicBezTo>
                      <a:cubicBezTo>
                        <a:pt x="120" y="187"/>
                        <a:pt x="119" y="186"/>
                        <a:pt x="117" y="185"/>
                      </a:cubicBezTo>
                      <a:cubicBezTo>
                        <a:pt x="116" y="184"/>
                        <a:pt x="115" y="182"/>
                        <a:pt x="114" y="181"/>
                      </a:cubicBezTo>
                      <a:cubicBezTo>
                        <a:pt x="114" y="180"/>
                        <a:pt x="113" y="180"/>
                        <a:pt x="113" y="180"/>
                      </a:cubicBezTo>
                      <a:cubicBezTo>
                        <a:pt x="125" y="183"/>
                        <a:pt x="136" y="185"/>
                        <a:pt x="146" y="185"/>
                      </a:cubicBezTo>
                      <a:cubicBezTo>
                        <a:pt x="146" y="192"/>
                        <a:pt x="146" y="192"/>
                        <a:pt x="146" y="192"/>
                      </a:cubicBezTo>
                      <a:cubicBezTo>
                        <a:pt x="146" y="192"/>
                        <a:pt x="146" y="192"/>
                        <a:pt x="146" y="192"/>
                      </a:cubicBezTo>
                      <a:close/>
                      <a:moveTo>
                        <a:pt x="184" y="181"/>
                      </a:moveTo>
                      <a:cubicBezTo>
                        <a:pt x="183" y="182"/>
                        <a:pt x="182" y="184"/>
                        <a:pt x="181" y="185"/>
                      </a:cubicBezTo>
                      <a:cubicBezTo>
                        <a:pt x="179" y="186"/>
                        <a:pt x="177" y="187"/>
                        <a:pt x="175" y="187"/>
                      </a:cubicBezTo>
                      <a:cubicBezTo>
                        <a:pt x="173" y="188"/>
                        <a:pt x="171" y="189"/>
                        <a:pt x="169" y="189"/>
                      </a:cubicBezTo>
                      <a:cubicBezTo>
                        <a:pt x="165" y="190"/>
                        <a:pt x="162" y="191"/>
                        <a:pt x="158" y="191"/>
                      </a:cubicBezTo>
                      <a:cubicBezTo>
                        <a:pt x="156" y="192"/>
                        <a:pt x="154" y="192"/>
                        <a:pt x="152" y="192"/>
                      </a:cubicBezTo>
                      <a:cubicBezTo>
                        <a:pt x="152" y="185"/>
                        <a:pt x="152" y="185"/>
                        <a:pt x="152" y="185"/>
                      </a:cubicBezTo>
                      <a:cubicBezTo>
                        <a:pt x="162" y="185"/>
                        <a:pt x="173" y="183"/>
                        <a:pt x="184" y="180"/>
                      </a:cubicBezTo>
                      <a:cubicBezTo>
                        <a:pt x="184" y="180"/>
                        <a:pt x="184" y="180"/>
                        <a:pt x="184" y="181"/>
                      </a:cubicBezTo>
                      <a:close/>
                      <a:moveTo>
                        <a:pt x="194" y="178"/>
                      </a:moveTo>
                      <a:cubicBezTo>
                        <a:pt x="193" y="178"/>
                        <a:pt x="192" y="179"/>
                        <a:pt x="191" y="179"/>
                      </a:cubicBezTo>
                      <a:cubicBezTo>
                        <a:pt x="191" y="179"/>
                        <a:pt x="191" y="178"/>
                        <a:pt x="191" y="177"/>
                      </a:cubicBezTo>
                      <a:cubicBezTo>
                        <a:pt x="194" y="177"/>
                        <a:pt x="196" y="175"/>
                        <a:pt x="199" y="174"/>
                      </a:cubicBezTo>
                      <a:cubicBezTo>
                        <a:pt x="197" y="176"/>
                        <a:pt x="196" y="177"/>
                        <a:pt x="194" y="178"/>
                      </a:cubicBezTo>
                      <a:close/>
                      <a:moveTo>
                        <a:pt x="66" y="83"/>
                      </a:moveTo>
                      <a:cubicBezTo>
                        <a:pt x="73" y="95"/>
                        <a:pt x="85" y="103"/>
                        <a:pt x="98" y="109"/>
                      </a:cubicBezTo>
                      <a:cubicBezTo>
                        <a:pt x="100" y="110"/>
                        <a:pt x="103" y="111"/>
                        <a:pt x="105" y="112"/>
                      </a:cubicBezTo>
                      <a:cubicBezTo>
                        <a:pt x="105" y="112"/>
                        <a:pt x="105" y="112"/>
                        <a:pt x="105" y="112"/>
                      </a:cubicBezTo>
                      <a:cubicBezTo>
                        <a:pt x="107" y="113"/>
                        <a:pt x="109" y="113"/>
                        <a:pt x="110" y="114"/>
                      </a:cubicBezTo>
                      <a:cubicBezTo>
                        <a:pt x="110" y="114"/>
                        <a:pt x="110" y="113"/>
                        <a:pt x="110" y="113"/>
                      </a:cubicBezTo>
                      <a:cubicBezTo>
                        <a:pt x="116" y="115"/>
                        <a:pt x="121" y="116"/>
                        <a:pt x="127" y="117"/>
                      </a:cubicBezTo>
                      <a:cubicBezTo>
                        <a:pt x="134" y="118"/>
                        <a:pt x="141" y="119"/>
                        <a:pt x="148" y="119"/>
                      </a:cubicBezTo>
                      <a:cubicBezTo>
                        <a:pt x="156" y="119"/>
                        <a:pt x="163" y="118"/>
                        <a:pt x="170" y="117"/>
                      </a:cubicBezTo>
                      <a:cubicBezTo>
                        <a:pt x="175" y="116"/>
                        <a:pt x="181" y="115"/>
                        <a:pt x="187" y="113"/>
                      </a:cubicBezTo>
                      <a:cubicBezTo>
                        <a:pt x="187" y="113"/>
                        <a:pt x="187" y="114"/>
                        <a:pt x="187" y="114"/>
                      </a:cubicBezTo>
                      <a:cubicBezTo>
                        <a:pt x="188" y="113"/>
                        <a:pt x="190" y="113"/>
                        <a:pt x="192" y="112"/>
                      </a:cubicBezTo>
                      <a:cubicBezTo>
                        <a:pt x="192" y="112"/>
                        <a:pt x="192" y="112"/>
                        <a:pt x="192" y="112"/>
                      </a:cubicBezTo>
                      <a:cubicBezTo>
                        <a:pt x="195" y="111"/>
                        <a:pt x="197" y="110"/>
                        <a:pt x="200" y="109"/>
                      </a:cubicBezTo>
                      <a:cubicBezTo>
                        <a:pt x="212" y="103"/>
                        <a:pt x="223" y="95"/>
                        <a:pt x="231" y="83"/>
                      </a:cubicBezTo>
                      <a:cubicBezTo>
                        <a:pt x="231" y="83"/>
                        <a:pt x="231" y="83"/>
                        <a:pt x="231" y="83"/>
                      </a:cubicBezTo>
                      <a:cubicBezTo>
                        <a:pt x="232" y="82"/>
                        <a:pt x="232" y="81"/>
                        <a:pt x="232" y="80"/>
                      </a:cubicBezTo>
                      <a:cubicBezTo>
                        <a:pt x="234" y="76"/>
                        <a:pt x="234" y="76"/>
                        <a:pt x="234" y="76"/>
                      </a:cubicBezTo>
                      <a:cubicBezTo>
                        <a:pt x="234" y="74"/>
                        <a:pt x="233" y="72"/>
                        <a:pt x="233" y="71"/>
                      </a:cubicBezTo>
                      <a:cubicBezTo>
                        <a:pt x="230" y="56"/>
                        <a:pt x="223" y="43"/>
                        <a:pt x="214" y="31"/>
                      </a:cubicBezTo>
                      <a:cubicBezTo>
                        <a:pt x="213" y="30"/>
                        <a:pt x="212" y="29"/>
                        <a:pt x="210" y="27"/>
                      </a:cubicBezTo>
                      <a:cubicBezTo>
                        <a:pt x="210" y="27"/>
                        <a:pt x="206" y="23"/>
                        <a:pt x="206" y="23"/>
                      </a:cubicBezTo>
                      <a:cubicBezTo>
                        <a:pt x="190" y="9"/>
                        <a:pt x="170" y="1"/>
                        <a:pt x="148" y="0"/>
                      </a:cubicBezTo>
                      <a:cubicBezTo>
                        <a:pt x="148" y="0"/>
                        <a:pt x="148" y="0"/>
                        <a:pt x="148" y="0"/>
                      </a:cubicBezTo>
                      <a:cubicBezTo>
                        <a:pt x="127" y="1"/>
                        <a:pt x="107" y="9"/>
                        <a:pt x="91" y="23"/>
                      </a:cubicBezTo>
                      <a:cubicBezTo>
                        <a:pt x="91" y="23"/>
                        <a:pt x="87" y="27"/>
                        <a:pt x="83" y="31"/>
                      </a:cubicBezTo>
                      <a:cubicBezTo>
                        <a:pt x="74" y="43"/>
                        <a:pt x="67" y="56"/>
                        <a:pt x="64" y="71"/>
                      </a:cubicBezTo>
                      <a:cubicBezTo>
                        <a:pt x="64" y="71"/>
                        <a:pt x="63" y="73"/>
                        <a:pt x="63" y="76"/>
                      </a:cubicBezTo>
                      <a:cubicBezTo>
                        <a:pt x="65" y="80"/>
                        <a:pt x="65" y="80"/>
                        <a:pt x="65" y="80"/>
                      </a:cubicBezTo>
                      <a:cubicBezTo>
                        <a:pt x="65" y="81"/>
                        <a:pt x="65" y="82"/>
                        <a:pt x="66" y="83"/>
                      </a:cubicBezTo>
                      <a:close/>
                      <a:moveTo>
                        <a:pt x="151" y="112"/>
                      </a:moveTo>
                      <a:cubicBezTo>
                        <a:pt x="151" y="69"/>
                        <a:pt x="151" y="69"/>
                        <a:pt x="151" y="69"/>
                      </a:cubicBezTo>
                      <a:cubicBezTo>
                        <a:pt x="158" y="69"/>
                        <a:pt x="166" y="68"/>
                        <a:pt x="173" y="66"/>
                      </a:cubicBezTo>
                      <a:cubicBezTo>
                        <a:pt x="175" y="70"/>
                        <a:pt x="177" y="75"/>
                        <a:pt x="178" y="79"/>
                      </a:cubicBezTo>
                      <a:cubicBezTo>
                        <a:pt x="180" y="83"/>
                        <a:pt x="181" y="86"/>
                        <a:pt x="182" y="89"/>
                      </a:cubicBezTo>
                      <a:cubicBezTo>
                        <a:pt x="183" y="93"/>
                        <a:pt x="183" y="96"/>
                        <a:pt x="184" y="100"/>
                      </a:cubicBezTo>
                      <a:cubicBezTo>
                        <a:pt x="185" y="102"/>
                        <a:pt x="185" y="105"/>
                        <a:pt x="186" y="107"/>
                      </a:cubicBezTo>
                      <a:cubicBezTo>
                        <a:pt x="174" y="110"/>
                        <a:pt x="162" y="112"/>
                        <a:pt x="151" y="112"/>
                      </a:cubicBezTo>
                      <a:close/>
                      <a:moveTo>
                        <a:pt x="188" y="48"/>
                      </a:moveTo>
                      <a:cubicBezTo>
                        <a:pt x="188" y="48"/>
                        <a:pt x="188" y="49"/>
                        <a:pt x="189" y="49"/>
                      </a:cubicBezTo>
                      <a:cubicBezTo>
                        <a:pt x="190" y="50"/>
                        <a:pt x="191" y="51"/>
                        <a:pt x="192" y="52"/>
                      </a:cubicBezTo>
                      <a:cubicBezTo>
                        <a:pt x="187" y="54"/>
                        <a:pt x="182" y="57"/>
                        <a:pt x="176" y="58"/>
                      </a:cubicBezTo>
                      <a:cubicBezTo>
                        <a:pt x="171" y="46"/>
                        <a:pt x="164" y="35"/>
                        <a:pt x="158" y="27"/>
                      </a:cubicBezTo>
                      <a:cubicBezTo>
                        <a:pt x="168" y="32"/>
                        <a:pt x="179" y="39"/>
                        <a:pt x="188" y="48"/>
                      </a:cubicBezTo>
                      <a:close/>
                      <a:moveTo>
                        <a:pt x="164" y="24"/>
                      </a:moveTo>
                      <a:cubicBezTo>
                        <a:pt x="172" y="25"/>
                        <a:pt x="180" y="27"/>
                        <a:pt x="186" y="30"/>
                      </a:cubicBezTo>
                      <a:cubicBezTo>
                        <a:pt x="189" y="31"/>
                        <a:pt x="191" y="32"/>
                        <a:pt x="192" y="33"/>
                      </a:cubicBezTo>
                      <a:cubicBezTo>
                        <a:pt x="196" y="35"/>
                        <a:pt x="200" y="37"/>
                        <a:pt x="203" y="40"/>
                      </a:cubicBezTo>
                      <a:cubicBezTo>
                        <a:pt x="203" y="40"/>
                        <a:pt x="202" y="41"/>
                        <a:pt x="202" y="42"/>
                      </a:cubicBezTo>
                      <a:cubicBezTo>
                        <a:pt x="201" y="44"/>
                        <a:pt x="199" y="46"/>
                        <a:pt x="196" y="49"/>
                      </a:cubicBezTo>
                      <a:cubicBezTo>
                        <a:pt x="195" y="48"/>
                        <a:pt x="194" y="47"/>
                        <a:pt x="193" y="46"/>
                      </a:cubicBezTo>
                      <a:cubicBezTo>
                        <a:pt x="193" y="45"/>
                        <a:pt x="193" y="45"/>
                        <a:pt x="193" y="45"/>
                      </a:cubicBezTo>
                      <a:cubicBezTo>
                        <a:pt x="191" y="43"/>
                        <a:pt x="189" y="42"/>
                        <a:pt x="188" y="40"/>
                      </a:cubicBezTo>
                      <a:cubicBezTo>
                        <a:pt x="180" y="34"/>
                        <a:pt x="173" y="28"/>
                        <a:pt x="164" y="24"/>
                      </a:cubicBezTo>
                      <a:close/>
                      <a:moveTo>
                        <a:pt x="171" y="60"/>
                      </a:moveTo>
                      <a:cubicBezTo>
                        <a:pt x="164" y="62"/>
                        <a:pt x="158" y="63"/>
                        <a:pt x="151" y="63"/>
                      </a:cubicBezTo>
                      <a:cubicBezTo>
                        <a:pt x="151" y="27"/>
                        <a:pt x="151" y="27"/>
                        <a:pt x="151" y="27"/>
                      </a:cubicBezTo>
                      <a:cubicBezTo>
                        <a:pt x="152" y="28"/>
                        <a:pt x="152" y="29"/>
                        <a:pt x="153" y="30"/>
                      </a:cubicBezTo>
                      <a:cubicBezTo>
                        <a:pt x="159" y="38"/>
                        <a:pt x="166" y="48"/>
                        <a:pt x="171" y="60"/>
                      </a:cubicBezTo>
                      <a:close/>
                      <a:moveTo>
                        <a:pt x="191" y="105"/>
                      </a:moveTo>
                      <a:cubicBezTo>
                        <a:pt x="190" y="100"/>
                        <a:pt x="189" y="95"/>
                        <a:pt x="187" y="89"/>
                      </a:cubicBezTo>
                      <a:cubicBezTo>
                        <a:pt x="186" y="86"/>
                        <a:pt x="185" y="83"/>
                        <a:pt x="184" y="79"/>
                      </a:cubicBezTo>
                      <a:cubicBezTo>
                        <a:pt x="184" y="79"/>
                        <a:pt x="184" y="78"/>
                        <a:pt x="184" y="78"/>
                      </a:cubicBezTo>
                      <a:cubicBezTo>
                        <a:pt x="182" y="73"/>
                        <a:pt x="180" y="69"/>
                        <a:pt x="179" y="64"/>
                      </a:cubicBezTo>
                      <a:cubicBezTo>
                        <a:pt x="185" y="62"/>
                        <a:pt x="191" y="60"/>
                        <a:pt x="196" y="57"/>
                      </a:cubicBezTo>
                      <a:cubicBezTo>
                        <a:pt x="204" y="67"/>
                        <a:pt x="211" y="78"/>
                        <a:pt x="215" y="89"/>
                      </a:cubicBezTo>
                      <a:cubicBezTo>
                        <a:pt x="215" y="90"/>
                        <a:pt x="215" y="92"/>
                        <a:pt x="216" y="93"/>
                      </a:cubicBezTo>
                      <a:cubicBezTo>
                        <a:pt x="209" y="98"/>
                        <a:pt x="200" y="102"/>
                        <a:pt x="191" y="105"/>
                      </a:cubicBezTo>
                      <a:close/>
                      <a:moveTo>
                        <a:pt x="210" y="36"/>
                      </a:moveTo>
                      <a:cubicBezTo>
                        <a:pt x="212" y="38"/>
                        <a:pt x="213" y="40"/>
                        <a:pt x="214" y="42"/>
                      </a:cubicBezTo>
                      <a:cubicBezTo>
                        <a:pt x="213" y="40"/>
                        <a:pt x="211" y="39"/>
                        <a:pt x="210" y="38"/>
                      </a:cubicBezTo>
                      <a:cubicBezTo>
                        <a:pt x="210" y="38"/>
                        <a:pt x="210" y="37"/>
                        <a:pt x="210" y="36"/>
                      </a:cubicBezTo>
                      <a:close/>
                      <a:moveTo>
                        <a:pt x="208" y="45"/>
                      </a:moveTo>
                      <a:cubicBezTo>
                        <a:pt x="208" y="45"/>
                        <a:pt x="208" y="44"/>
                        <a:pt x="208" y="44"/>
                      </a:cubicBezTo>
                      <a:cubicBezTo>
                        <a:pt x="212" y="47"/>
                        <a:pt x="215" y="51"/>
                        <a:pt x="218" y="54"/>
                      </a:cubicBezTo>
                      <a:cubicBezTo>
                        <a:pt x="221" y="58"/>
                        <a:pt x="223" y="61"/>
                        <a:pt x="225" y="65"/>
                      </a:cubicBezTo>
                      <a:cubicBezTo>
                        <a:pt x="226" y="67"/>
                        <a:pt x="227" y="70"/>
                        <a:pt x="228" y="72"/>
                      </a:cubicBezTo>
                      <a:cubicBezTo>
                        <a:pt x="228" y="73"/>
                        <a:pt x="230" y="79"/>
                        <a:pt x="220" y="89"/>
                      </a:cubicBezTo>
                      <a:cubicBezTo>
                        <a:pt x="219" y="86"/>
                        <a:pt x="218" y="83"/>
                        <a:pt x="217" y="81"/>
                      </a:cubicBezTo>
                      <a:cubicBezTo>
                        <a:pt x="213" y="71"/>
                        <a:pt x="208" y="62"/>
                        <a:pt x="200" y="53"/>
                      </a:cubicBezTo>
                      <a:cubicBezTo>
                        <a:pt x="204" y="51"/>
                        <a:pt x="206" y="48"/>
                        <a:pt x="208" y="45"/>
                      </a:cubicBezTo>
                      <a:close/>
                      <a:moveTo>
                        <a:pt x="189" y="21"/>
                      </a:moveTo>
                      <a:cubicBezTo>
                        <a:pt x="194" y="22"/>
                        <a:pt x="198" y="24"/>
                        <a:pt x="201" y="27"/>
                      </a:cubicBezTo>
                      <a:cubicBezTo>
                        <a:pt x="203" y="29"/>
                        <a:pt x="203" y="31"/>
                        <a:pt x="204" y="33"/>
                      </a:cubicBezTo>
                      <a:cubicBezTo>
                        <a:pt x="200" y="31"/>
                        <a:pt x="196" y="28"/>
                        <a:pt x="191" y="26"/>
                      </a:cubicBezTo>
                      <a:cubicBezTo>
                        <a:pt x="189" y="25"/>
                        <a:pt x="187" y="25"/>
                        <a:pt x="185" y="24"/>
                      </a:cubicBezTo>
                      <a:cubicBezTo>
                        <a:pt x="179" y="21"/>
                        <a:pt x="173" y="20"/>
                        <a:pt x="166" y="19"/>
                      </a:cubicBezTo>
                      <a:cubicBezTo>
                        <a:pt x="169" y="18"/>
                        <a:pt x="171" y="18"/>
                        <a:pt x="173" y="18"/>
                      </a:cubicBezTo>
                      <a:cubicBezTo>
                        <a:pt x="176" y="18"/>
                        <a:pt x="179" y="19"/>
                        <a:pt x="183" y="19"/>
                      </a:cubicBezTo>
                      <a:cubicBezTo>
                        <a:pt x="185" y="20"/>
                        <a:pt x="187" y="20"/>
                        <a:pt x="189" y="21"/>
                      </a:cubicBezTo>
                      <a:close/>
                      <a:moveTo>
                        <a:pt x="174" y="11"/>
                      </a:moveTo>
                      <a:cubicBezTo>
                        <a:pt x="175" y="12"/>
                        <a:pt x="177" y="12"/>
                        <a:pt x="178" y="13"/>
                      </a:cubicBezTo>
                      <a:cubicBezTo>
                        <a:pt x="176" y="13"/>
                        <a:pt x="174" y="13"/>
                        <a:pt x="173" y="13"/>
                      </a:cubicBezTo>
                      <a:cubicBezTo>
                        <a:pt x="168" y="13"/>
                        <a:pt x="164" y="13"/>
                        <a:pt x="160" y="14"/>
                      </a:cubicBezTo>
                      <a:cubicBezTo>
                        <a:pt x="163" y="12"/>
                        <a:pt x="167" y="11"/>
                        <a:pt x="170" y="11"/>
                      </a:cubicBezTo>
                      <a:cubicBezTo>
                        <a:pt x="172" y="11"/>
                        <a:pt x="173" y="11"/>
                        <a:pt x="174" y="11"/>
                      </a:cubicBezTo>
                      <a:close/>
                      <a:moveTo>
                        <a:pt x="151" y="6"/>
                      </a:moveTo>
                      <a:cubicBezTo>
                        <a:pt x="154" y="6"/>
                        <a:pt x="158" y="7"/>
                        <a:pt x="161" y="7"/>
                      </a:cubicBezTo>
                      <a:cubicBezTo>
                        <a:pt x="158" y="9"/>
                        <a:pt x="154" y="11"/>
                        <a:pt x="151" y="14"/>
                      </a:cubicBezTo>
                      <a:cubicBezTo>
                        <a:pt x="151" y="6"/>
                        <a:pt x="151" y="6"/>
                        <a:pt x="151" y="6"/>
                      </a:cubicBezTo>
                      <a:cubicBezTo>
                        <a:pt x="151" y="6"/>
                        <a:pt x="151" y="6"/>
                        <a:pt x="151" y="6"/>
                      </a:cubicBezTo>
                      <a:close/>
                      <a:moveTo>
                        <a:pt x="110" y="89"/>
                      </a:moveTo>
                      <a:cubicBezTo>
                        <a:pt x="108" y="95"/>
                        <a:pt x="107" y="100"/>
                        <a:pt x="106" y="105"/>
                      </a:cubicBezTo>
                      <a:cubicBezTo>
                        <a:pt x="97" y="102"/>
                        <a:pt x="88" y="98"/>
                        <a:pt x="81" y="93"/>
                      </a:cubicBezTo>
                      <a:cubicBezTo>
                        <a:pt x="82" y="92"/>
                        <a:pt x="82" y="90"/>
                        <a:pt x="82" y="89"/>
                      </a:cubicBezTo>
                      <a:cubicBezTo>
                        <a:pt x="86" y="78"/>
                        <a:pt x="93" y="67"/>
                        <a:pt x="101" y="57"/>
                      </a:cubicBezTo>
                      <a:cubicBezTo>
                        <a:pt x="106" y="60"/>
                        <a:pt x="112" y="62"/>
                        <a:pt x="118" y="64"/>
                      </a:cubicBezTo>
                      <a:cubicBezTo>
                        <a:pt x="116" y="69"/>
                        <a:pt x="115" y="73"/>
                        <a:pt x="113" y="78"/>
                      </a:cubicBezTo>
                      <a:cubicBezTo>
                        <a:pt x="113" y="78"/>
                        <a:pt x="113" y="79"/>
                        <a:pt x="113" y="79"/>
                      </a:cubicBezTo>
                      <a:cubicBezTo>
                        <a:pt x="112" y="83"/>
                        <a:pt x="111" y="86"/>
                        <a:pt x="110" y="89"/>
                      </a:cubicBezTo>
                      <a:close/>
                      <a:moveTo>
                        <a:pt x="109" y="40"/>
                      </a:moveTo>
                      <a:cubicBezTo>
                        <a:pt x="108" y="42"/>
                        <a:pt x="106" y="43"/>
                        <a:pt x="104" y="45"/>
                      </a:cubicBezTo>
                      <a:cubicBezTo>
                        <a:pt x="104" y="45"/>
                        <a:pt x="104" y="45"/>
                        <a:pt x="104" y="46"/>
                      </a:cubicBezTo>
                      <a:cubicBezTo>
                        <a:pt x="103" y="47"/>
                        <a:pt x="102" y="48"/>
                        <a:pt x="101" y="49"/>
                      </a:cubicBezTo>
                      <a:cubicBezTo>
                        <a:pt x="98" y="47"/>
                        <a:pt x="96" y="44"/>
                        <a:pt x="95" y="42"/>
                      </a:cubicBezTo>
                      <a:cubicBezTo>
                        <a:pt x="94" y="41"/>
                        <a:pt x="94" y="40"/>
                        <a:pt x="94" y="40"/>
                      </a:cubicBezTo>
                      <a:cubicBezTo>
                        <a:pt x="97" y="37"/>
                        <a:pt x="101" y="35"/>
                        <a:pt x="104" y="33"/>
                      </a:cubicBezTo>
                      <a:cubicBezTo>
                        <a:pt x="106" y="32"/>
                        <a:pt x="109" y="31"/>
                        <a:pt x="111" y="30"/>
                      </a:cubicBezTo>
                      <a:cubicBezTo>
                        <a:pt x="117" y="27"/>
                        <a:pt x="125" y="25"/>
                        <a:pt x="133" y="24"/>
                      </a:cubicBezTo>
                      <a:cubicBezTo>
                        <a:pt x="124" y="28"/>
                        <a:pt x="117" y="34"/>
                        <a:pt x="109" y="40"/>
                      </a:cubicBezTo>
                      <a:close/>
                      <a:moveTo>
                        <a:pt x="139" y="27"/>
                      </a:moveTo>
                      <a:cubicBezTo>
                        <a:pt x="133" y="35"/>
                        <a:pt x="126" y="46"/>
                        <a:pt x="121" y="58"/>
                      </a:cubicBezTo>
                      <a:cubicBezTo>
                        <a:pt x="115" y="57"/>
                        <a:pt x="110" y="54"/>
                        <a:pt x="105" y="52"/>
                      </a:cubicBezTo>
                      <a:cubicBezTo>
                        <a:pt x="106" y="51"/>
                        <a:pt x="107" y="50"/>
                        <a:pt x="108" y="49"/>
                      </a:cubicBezTo>
                      <a:cubicBezTo>
                        <a:pt x="109" y="49"/>
                        <a:pt x="109" y="48"/>
                        <a:pt x="109" y="48"/>
                      </a:cubicBezTo>
                      <a:cubicBezTo>
                        <a:pt x="118" y="39"/>
                        <a:pt x="129" y="32"/>
                        <a:pt x="139" y="27"/>
                      </a:cubicBezTo>
                      <a:close/>
                      <a:moveTo>
                        <a:pt x="146" y="112"/>
                      </a:moveTo>
                      <a:cubicBezTo>
                        <a:pt x="135" y="112"/>
                        <a:pt x="123" y="110"/>
                        <a:pt x="111" y="107"/>
                      </a:cubicBezTo>
                      <a:cubicBezTo>
                        <a:pt x="112" y="105"/>
                        <a:pt x="112" y="102"/>
                        <a:pt x="113" y="100"/>
                      </a:cubicBezTo>
                      <a:cubicBezTo>
                        <a:pt x="114" y="96"/>
                        <a:pt x="115" y="93"/>
                        <a:pt x="115" y="89"/>
                      </a:cubicBezTo>
                      <a:cubicBezTo>
                        <a:pt x="116" y="86"/>
                        <a:pt x="117" y="83"/>
                        <a:pt x="119" y="79"/>
                      </a:cubicBezTo>
                      <a:cubicBezTo>
                        <a:pt x="120" y="75"/>
                        <a:pt x="122" y="70"/>
                        <a:pt x="123" y="66"/>
                      </a:cubicBezTo>
                      <a:cubicBezTo>
                        <a:pt x="132" y="68"/>
                        <a:pt x="139" y="69"/>
                        <a:pt x="146" y="69"/>
                      </a:cubicBezTo>
                      <a:cubicBezTo>
                        <a:pt x="146" y="112"/>
                        <a:pt x="146" y="112"/>
                        <a:pt x="146" y="112"/>
                      </a:cubicBezTo>
                      <a:cubicBezTo>
                        <a:pt x="146" y="112"/>
                        <a:pt x="146" y="112"/>
                        <a:pt x="146" y="112"/>
                      </a:cubicBezTo>
                      <a:close/>
                      <a:moveTo>
                        <a:pt x="146" y="63"/>
                      </a:moveTo>
                      <a:cubicBezTo>
                        <a:pt x="139" y="63"/>
                        <a:pt x="133" y="62"/>
                        <a:pt x="126" y="60"/>
                      </a:cubicBezTo>
                      <a:cubicBezTo>
                        <a:pt x="131" y="48"/>
                        <a:pt x="138" y="38"/>
                        <a:pt x="144" y="30"/>
                      </a:cubicBezTo>
                      <a:cubicBezTo>
                        <a:pt x="145" y="29"/>
                        <a:pt x="145" y="28"/>
                        <a:pt x="146" y="27"/>
                      </a:cubicBezTo>
                      <a:cubicBezTo>
                        <a:pt x="146" y="63"/>
                        <a:pt x="146" y="63"/>
                        <a:pt x="146" y="63"/>
                      </a:cubicBezTo>
                      <a:cubicBezTo>
                        <a:pt x="146" y="63"/>
                        <a:pt x="146" y="63"/>
                        <a:pt x="146" y="63"/>
                      </a:cubicBezTo>
                      <a:close/>
                      <a:moveTo>
                        <a:pt x="146" y="6"/>
                      </a:moveTo>
                      <a:cubicBezTo>
                        <a:pt x="146" y="14"/>
                        <a:pt x="146" y="14"/>
                        <a:pt x="146" y="14"/>
                      </a:cubicBezTo>
                      <a:cubicBezTo>
                        <a:pt x="143" y="11"/>
                        <a:pt x="139" y="9"/>
                        <a:pt x="136" y="7"/>
                      </a:cubicBezTo>
                      <a:cubicBezTo>
                        <a:pt x="139" y="7"/>
                        <a:pt x="143" y="6"/>
                        <a:pt x="146" y="6"/>
                      </a:cubicBezTo>
                      <a:close/>
                      <a:moveTo>
                        <a:pt x="123" y="11"/>
                      </a:moveTo>
                      <a:cubicBezTo>
                        <a:pt x="124" y="11"/>
                        <a:pt x="125" y="11"/>
                        <a:pt x="127" y="11"/>
                      </a:cubicBezTo>
                      <a:cubicBezTo>
                        <a:pt x="130" y="11"/>
                        <a:pt x="134" y="12"/>
                        <a:pt x="138" y="14"/>
                      </a:cubicBezTo>
                      <a:cubicBezTo>
                        <a:pt x="133" y="13"/>
                        <a:pt x="129" y="13"/>
                        <a:pt x="124" y="13"/>
                      </a:cubicBezTo>
                      <a:cubicBezTo>
                        <a:pt x="123" y="13"/>
                        <a:pt x="121" y="13"/>
                        <a:pt x="119" y="13"/>
                      </a:cubicBezTo>
                      <a:cubicBezTo>
                        <a:pt x="120" y="12"/>
                        <a:pt x="122" y="12"/>
                        <a:pt x="123" y="11"/>
                      </a:cubicBezTo>
                      <a:close/>
                      <a:moveTo>
                        <a:pt x="96" y="27"/>
                      </a:moveTo>
                      <a:cubicBezTo>
                        <a:pt x="99" y="24"/>
                        <a:pt x="103" y="22"/>
                        <a:pt x="108" y="21"/>
                      </a:cubicBezTo>
                      <a:cubicBezTo>
                        <a:pt x="110" y="20"/>
                        <a:pt x="112" y="20"/>
                        <a:pt x="114" y="19"/>
                      </a:cubicBezTo>
                      <a:cubicBezTo>
                        <a:pt x="118" y="19"/>
                        <a:pt x="121" y="18"/>
                        <a:pt x="124" y="18"/>
                      </a:cubicBezTo>
                      <a:cubicBezTo>
                        <a:pt x="126" y="18"/>
                        <a:pt x="128" y="18"/>
                        <a:pt x="131" y="19"/>
                      </a:cubicBezTo>
                      <a:cubicBezTo>
                        <a:pt x="124" y="20"/>
                        <a:pt x="118" y="21"/>
                        <a:pt x="112" y="24"/>
                      </a:cubicBezTo>
                      <a:cubicBezTo>
                        <a:pt x="110" y="25"/>
                        <a:pt x="108" y="25"/>
                        <a:pt x="106" y="26"/>
                      </a:cubicBezTo>
                      <a:cubicBezTo>
                        <a:pt x="101" y="28"/>
                        <a:pt x="97" y="31"/>
                        <a:pt x="93" y="34"/>
                      </a:cubicBezTo>
                      <a:cubicBezTo>
                        <a:pt x="94" y="31"/>
                        <a:pt x="94" y="29"/>
                        <a:pt x="96" y="27"/>
                      </a:cubicBezTo>
                      <a:close/>
                      <a:moveTo>
                        <a:pt x="87" y="36"/>
                      </a:moveTo>
                      <a:cubicBezTo>
                        <a:pt x="87" y="37"/>
                        <a:pt x="87" y="38"/>
                        <a:pt x="87" y="38"/>
                      </a:cubicBezTo>
                      <a:cubicBezTo>
                        <a:pt x="85" y="39"/>
                        <a:pt x="84" y="40"/>
                        <a:pt x="83" y="42"/>
                      </a:cubicBezTo>
                      <a:cubicBezTo>
                        <a:pt x="84" y="40"/>
                        <a:pt x="85" y="38"/>
                        <a:pt x="87" y="36"/>
                      </a:cubicBezTo>
                      <a:close/>
                      <a:moveTo>
                        <a:pt x="70" y="71"/>
                      </a:moveTo>
                      <a:cubicBezTo>
                        <a:pt x="70" y="69"/>
                        <a:pt x="71" y="67"/>
                        <a:pt x="72" y="65"/>
                      </a:cubicBezTo>
                      <a:cubicBezTo>
                        <a:pt x="74" y="61"/>
                        <a:pt x="76" y="58"/>
                        <a:pt x="79" y="54"/>
                      </a:cubicBezTo>
                      <a:cubicBezTo>
                        <a:pt x="82" y="51"/>
                        <a:pt x="85" y="47"/>
                        <a:pt x="89" y="44"/>
                      </a:cubicBezTo>
                      <a:cubicBezTo>
                        <a:pt x="89" y="44"/>
                        <a:pt x="89" y="45"/>
                        <a:pt x="89" y="45"/>
                      </a:cubicBezTo>
                      <a:cubicBezTo>
                        <a:pt x="91" y="48"/>
                        <a:pt x="93" y="51"/>
                        <a:pt x="97" y="54"/>
                      </a:cubicBezTo>
                      <a:cubicBezTo>
                        <a:pt x="90" y="62"/>
                        <a:pt x="84" y="71"/>
                        <a:pt x="80" y="81"/>
                      </a:cubicBezTo>
                      <a:cubicBezTo>
                        <a:pt x="79" y="83"/>
                        <a:pt x="78" y="86"/>
                        <a:pt x="77" y="89"/>
                      </a:cubicBezTo>
                      <a:cubicBezTo>
                        <a:pt x="72" y="84"/>
                        <a:pt x="70" y="79"/>
                        <a:pt x="69" y="73"/>
                      </a:cubicBezTo>
                      <a:cubicBezTo>
                        <a:pt x="69" y="73"/>
                        <a:pt x="69" y="72"/>
                        <a:pt x="70" y="71"/>
                      </a:cubicBezTo>
                      <a:close/>
                      <a:moveTo>
                        <a:pt x="42" y="93"/>
                      </a:moveTo>
                      <a:cubicBezTo>
                        <a:pt x="39" y="93"/>
                        <a:pt x="38" y="99"/>
                        <a:pt x="38" y="101"/>
                      </a:cubicBezTo>
                      <a:cubicBezTo>
                        <a:pt x="38" y="108"/>
                        <a:pt x="41" y="109"/>
                        <a:pt x="42" y="109"/>
                      </a:cubicBezTo>
                      <a:cubicBezTo>
                        <a:pt x="43" y="109"/>
                        <a:pt x="46" y="108"/>
                        <a:pt x="46" y="101"/>
                      </a:cubicBezTo>
                      <a:cubicBezTo>
                        <a:pt x="46" y="99"/>
                        <a:pt x="45" y="93"/>
                        <a:pt x="42" y="93"/>
                      </a:cubicBezTo>
                      <a:close/>
                      <a:moveTo>
                        <a:pt x="256" y="93"/>
                      </a:moveTo>
                      <a:cubicBezTo>
                        <a:pt x="253" y="93"/>
                        <a:pt x="253" y="99"/>
                        <a:pt x="253" y="101"/>
                      </a:cubicBezTo>
                      <a:cubicBezTo>
                        <a:pt x="253" y="108"/>
                        <a:pt x="255" y="109"/>
                        <a:pt x="256" y="109"/>
                      </a:cubicBezTo>
                      <a:cubicBezTo>
                        <a:pt x="257" y="109"/>
                        <a:pt x="260" y="108"/>
                        <a:pt x="260" y="101"/>
                      </a:cubicBezTo>
                      <a:cubicBezTo>
                        <a:pt x="260" y="99"/>
                        <a:pt x="260" y="93"/>
                        <a:pt x="256" y="93"/>
                      </a:cubicBezTo>
                      <a:close/>
                      <a:moveTo>
                        <a:pt x="164" y="144"/>
                      </a:moveTo>
                      <a:cubicBezTo>
                        <a:pt x="162" y="137"/>
                        <a:pt x="157" y="139"/>
                        <a:pt x="156" y="141"/>
                      </a:cubicBezTo>
                      <a:cubicBezTo>
                        <a:pt x="155" y="142"/>
                        <a:pt x="154" y="143"/>
                        <a:pt x="154" y="145"/>
                      </a:cubicBezTo>
                      <a:cubicBezTo>
                        <a:pt x="153" y="149"/>
                        <a:pt x="154" y="156"/>
                        <a:pt x="159" y="156"/>
                      </a:cubicBezTo>
                      <a:cubicBezTo>
                        <a:pt x="163" y="156"/>
                        <a:pt x="164" y="151"/>
                        <a:pt x="164" y="146"/>
                      </a:cubicBezTo>
                      <a:cubicBezTo>
                        <a:pt x="164" y="145"/>
                        <a:pt x="164" y="145"/>
                        <a:pt x="164" y="144"/>
                      </a:cubicBezTo>
                      <a:close/>
                      <a:moveTo>
                        <a:pt x="323" y="101"/>
                      </a:moveTo>
                      <a:cubicBezTo>
                        <a:pt x="292" y="71"/>
                        <a:pt x="292" y="71"/>
                        <a:pt x="292" y="71"/>
                      </a:cubicBezTo>
                      <a:cubicBezTo>
                        <a:pt x="292" y="83"/>
                        <a:pt x="292" y="83"/>
                        <a:pt x="292" y="83"/>
                      </a:cubicBezTo>
                      <a:cubicBezTo>
                        <a:pt x="241" y="83"/>
                        <a:pt x="241" y="83"/>
                        <a:pt x="241" y="83"/>
                      </a:cubicBezTo>
                      <a:cubicBezTo>
                        <a:pt x="241" y="85"/>
                        <a:pt x="240" y="86"/>
                        <a:pt x="240" y="87"/>
                      </a:cubicBezTo>
                      <a:cubicBezTo>
                        <a:pt x="233" y="103"/>
                        <a:pt x="215" y="116"/>
                        <a:pt x="189" y="124"/>
                      </a:cubicBezTo>
                      <a:cubicBezTo>
                        <a:pt x="176" y="128"/>
                        <a:pt x="162" y="129"/>
                        <a:pt x="148" y="129"/>
                      </a:cubicBezTo>
                      <a:cubicBezTo>
                        <a:pt x="113" y="129"/>
                        <a:pt x="79" y="117"/>
                        <a:pt x="63" y="96"/>
                      </a:cubicBezTo>
                      <a:cubicBezTo>
                        <a:pt x="61" y="94"/>
                        <a:pt x="60" y="92"/>
                        <a:pt x="58" y="90"/>
                      </a:cubicBezTo>
                      <a:cubicBezTo>
                        <a:pt x="57" y="88"/>
                        <a:pt x="56" y="86"/>
                        <a:pt x="56" y="83"/>
                      </a:cubicBezTo>
                      <a:cubicBezTo>
                        <a:pt x="0" y="83"/>
                        <a:pt x="0" y="83"/>
                        <a:pt x="0" y="83"/>
                      </a:cubicBezTo>
                      <a:cubicBezTo>
                        <a:pt x="0" y="119"/>
                        <a:pt x="0" y="119"/>
                        <a:pt x="0" y="119"/>
                      </a:cubicBezTo>
                      <a:cubicBezTo>
                        <a:pt x="55" y="119"/>
                        <a:pt x="55" y="119"/>
                        <a:pt x="55" y="119"/>
                      </a:cubicBezTo>
                      <a:cubicBezTo>
                        <a:pt x="55" y="120"/>
                        <a:pt x="55" y="122"/>
                        <a:pt x="56" y="123"/>
                      </a:cubicBezTo>
                      <a:cubicBezTo>
                        <a:pt x="57" y="127"/>
                        <a:pt x="60" y="131"/>
                        <a:pt x="63" y="135"/>
                      </a:cubicBezTo>
                      <a:cubicBezTo>
                        <a:pt x="64" y="137"/>
                        <a:pt x="65" y="138"/>
                        <a:pt x="66" y="140"/>
                      </a:cubicBezTo>
                      <a:cubicBezTo>
                        <a:pt x="70" y="144"/>
                        <a:pt x="74" y="147"/>
                        <a:pt x="79" y="150"/>
                      </a:cubicBezTo>
                      <a:cubicBezTo>
                        <a:pt x="86" y="155"/>
                        <a:pt x="94" y="159"/>
                        <a:pt x="103" y="162"/>
                      </a:cubicBezTo>
                      <a:cubicBezTo>
                        <a:pt x="105" y="162"/>
                        <a:pt x="107" y="163"/>
                        <a:pt x="109" y="163"/>
                      </a:cubicBezTo>
                      <a:cubicBezTo>
                        <a:pt x="120" y="167"/>
                        <a:pt x="133" y="168"/>
                        <a:pt x="146" y="169"/>
                      </a:cubicBezTo>
                      <a:cubicBezTo>
                        <a:pt x="147" y="169"/>
                        <a:pt x="148" y="169"/>
                        <a:pt x="148" y="169"/>
                      </a:cubicBezTo>
                      <a:cubicBezTo>
                        <a:pt x="150" y="169"/>
                        <a:pt x="151" y="169"/>
                        <a:pt x="152" y="169"/>
                      </a:cubicBezTo>
                      <a:cubicBezTo>
                        <a:pt x="164" y="168"/>
                        <a:pt x="177" y="167"/>
                        <a:pt x="189" y="163"/>
                      </a:cubicBezTo>
                      <a:cubicBezTo>
                        <a:pt x="189" y="163"/>
                        <a:pt x="189" y="163"/>
                        <a:pt x="189" y="163"/>
                      </a:cubicBezTo>
                      <a:cubicBezTo>
                        <a:pt x="191" y="163"/>
                        <a:pt x="193" y="162"/>
                        <a:pt x="194" y="161"/>
                      </a:cubicBezTo>
                      <a:cubicBezTo>
                        <a:pt x="204" y="158"/>
                        <a:pt x="212" y="154"/>
                        <a:pt x="219" y="149"/>
                      </a:cubicBezTo>
                      <a:cubicBezTo>
                        <a:pt x="224" y="146"/>
                        <a:pt x="228" y="142"/>
                        <a:pt x="232" y="138"/>
                      </a:cubicBezTo>
                      <a:cubicBezTo>
                        <a:pt x="236" y="134"/>
                        <a:pt x="239" y="129"/>
                        <a:pt x="241" y="123"/>
                      </a:cubicBezTo>
                      <a:cubicBezTo>
                        <a:pt x="242" y="122"/>
                        <a:pt x="242" y="120"/>
                        <a:pt x="243" y="119"/>
                      </a:cubicBezTo>
                      <a:cubicBezTo>
                        <a:pt x="292" y="119"/>
                        <a:pt x="292" y="119"/>
                        <a:pt x="292" y="119"/>
                      </a:cubicBezTo>
                      <a:cubicBezTo>
                        <a:pt x="292" y="131"/>
                        <a:pt x="292" y="131"/>
                        <a:pt x="292" y="131"/>
                      </a:cubicBezTo>
                      <a:cubicBezTo>
                        <a:pt x="323" y="101"/>
                        <a:pt x="323" y="101"/>
                        <a:pt x="323" y="101"/>
                      </a:cubicBezTo>
                      <a:cubicBezTo>
                        <a:pt x="323" y="101"/>
                        <a:pt x="323" y="101"/>
                        <a:pt x="323" y="101"/>
                      </a:cubicBezTo>
                      <a:close/>
                      <a:moveTo>
                        <a:pt x="28" y="112"/>
                      </a:moveTo>
                      <a:cubicBezTo>
                        <a:pt x="12" y="112"/>
                        <a:pt x="12" y="112"/>
                        <a:pt x="12" y="112"/>
                      </a:cubicBezTo>
                      <a:cubicBezTo>
                        <a:pt x="12" y="108"/>
                        <a:pt x="12" y="108"/>
                        <a:pt x="12" y="108"/>
                      </a:cubicBezTo>
                      <a:cubicBezTo>
                        <a:pt x="18" y="108"/>
                        <a:pt x="18" y="108"/>
                        <a:pt x="18" y="108"/>
                      </a:cubicBezTo>
                      <a:cubicBezTo>
                        <a:pt x="18" y="94"/>
                        <a:pt x="18" y="94"/>
                        <a:pt x="18" y="94"/>
                      </a:cubicBezTo>
                      <a:cubicBezTo>
                        <a:pt x="13" y="97"/>
                        <a:pt x="13" y="97"/>
                        <a:pt x="13" y="97"/>
                      </a:cubicBezTo>
                      <a:cubicBezTo>
                        <a:pt x="11" y="93"/>
                        <a:pt x="11" y="93"/>
                        <a:pt x="11" y="93"/>
                      </a:cubicBezTo>
                      <a:cubicBezTo>
                        <a:pt x="19" y="90"/>
                        <a:pt x="19" y="90"/>
                        <a:pt x="19" y="90"/>
                      </a:cubicBezTo>
                      <a:cubicBezTo>
                        <a:pt x="22" y="90"/>
                        <a:pt x="22" y="90"/>
                        <a:pt x="22" y="90"/>
                      </a:cubicBezTo>
                      <a:cubicBezTo>
                        <a:pt x="22" y="108"/>
                        <a:pt x="22" y="108"/>
                        <a:pt x="22" y="108"/>
                      </a:cubicBezTo>
                      <a:cubicBezTo>
                        <a:pt x="28" y="108"/>
                        <a:pt x="28" y="108"/>
                        <a:pt x="28" y="108"/>
                      </a:cubicBezTo>
                      <a:cubicBezTo>
                        <a:pt x="28" y="112"/>
                        <a:pt x="28" y="112"/>
                        <a:pt x="28" y="112"/>
                      </a:cubicBezTo>
                      <a:cubicBezTo>
                        <a:pt x="28" y="112"/>
                        <a:pt x="28" y="112"/>
                        <a:pt x="28" y="112"/>
                      </a:cubicBezTo>
                      <a:close/>
                      <a:moveTo>
                        <a:pt x="42" y="112"/>
                      </a:moveTo>
                      <a:cubicBezTo>
                        <a:pt x="35" y="112"/>
                        <a:pt x="34" y="106"/>
                        <a:pt x="34" y="101"/>
                      </a:cubicBezTo>
                      <a:cubicBezTo>
                        <a:pt x="34" y="96"/>
                        <a:pt x="36" y="90"/>
                        <a:pt x="42" y="90"/>
                      </a:cubicBezTo>
                      <a:cubicBezTo>
                        <a:pt x="49" y="90"/>
                        <a:pt x="50" y="96"/>
                        <a:pt x="50" y="101"/>
                      </a:cubicBezTo>
                      <a:cubicBezTo>
                        <a:pt x="50" y="106"/>
                        <a:pt x="49" y="112"/>
                        <a:pt x="42" y="112"/>
                      </a:cubicBezTo>
                      <a:close/>
                      <a:moveTo>
                        <a:pt x="65" y="127"/>
                      </a:moveTo>
                      <a:cubicBezTo>
                        <a:pt x="64" y="125"/>
                        <a:pt x="62" y="123"/>
                        <a:pt x="61" y="121"/>
                      </a:cubicBezTo>
                      <a:cubicBezTo>
                        <a:pt x="60" y="120"/>
                        <a:pt x="60" y="118"/>
                        <a:pt x="59" y="117"/>
                      </a:cubicBezTo>
                      <a:cubicBezTo>
                        <a:pt x="59" y="113"/>
                        <a:pt x="59" y="113"/>
                        <a:pt x="59" y="113"/>
                      </a:cubicBezTo>
                      <a:cubicBezTo>
                        <a:pt x="60" y="114"/>
                        <a:pt x="60" y="115"/>
                        <a:pt x="61" y="116"/>
                      </a:cubicBezTo>
                      <a:cubicBezTo>
                        <a:pt x="61" y="117"/>
                        <a:pt x="61" y="117"/>
                        <a:pt x="62" y="118"/>
                      </a:cubicBezTo>
                      <a:cubicBezTo>
                        <a:pt x="62" y="110"/>
                        <a:pt x="62" y="110"/>
                        <a:pt x="62" y="110"/>
                      </a:cubicBezTo>
                      <a:cubicBezTo>
                        <a:pt x="62" y="102"/>
                        <a:pt x="62" y="102"/>
                        <a:pt x="62" y="102"/>
                      </a:cubicBezTo>
                      <a:cubicBezTo>
                        <a:pt x="61" y="102"/>
                        <a:pt x="61" y="102"/>
                        <a:pt x="61" y="101"/>
                      </a:cubicBezTo>
                      <a:cubicBezTo>
                        <a:pt x="61" y="101"/>
                        <a:pt x="61" y="101"/>
                        <a:pt x="61" y="101"/>
                      </a:cubicBezTo>
                      <a:cubicBezTo>
                        <a:pt x="60" y="101"/>
                        <a:pt x="60" y="101"/>
                        <a:pt x="59" y="100"/>
                      </a:cubicBezTo>
                      <a:cubicBezTo>
                        <a:pt x="59" y="97"/>
                        <a:pt x="59" y="97"/>
                        <a:pt x="59" y="97"/>
                      </a:cubicBezTo>
                      <a:cubicBezTo>
                        <a:pt x="59" y="95"/>
                        <a:pt x="59" y="95"/>
                        <a:pt x="59" y="95"/>
                      </a:cubicBezTo>
                      <a:cubicBezTo>
                        <a:pt x="60" y="96"/>
                        <a:pt x="61" y="97"/>
                        <a:pt x="62" y="98"/>
                      </a:cubicBezTo>
                      <a:cubicBezTo>
                        <a:pt x="63" y="99"/>
                        <a:pt x="63" y="100"/>
                        <a:pt x="64" y="100"/>
                      </a:cubicBezTo>
                      <a:cubicBezTo>
                        <a:pt x="64" y="105"/>
                        <a:pt x="64" y="105"/>
                        <a:pt x="64" y="105"/>
                      </a:cubicBezTo>
                      <a:cubicBezTo>
                        <a:pt x="64" y="113"/>
                        <a:pt x="64" y="113"/>
                        <a:pt x="64" y="113"/>
                      </a:cubicBezTo>
                      <a:cubicBezTo>
                        <a:pt x="64" y="121"/>
                        <a:pt x="64" y="121"/>
                        <a:pt x="64" y="121"/>
                      </a:cubicBezTo>
                      <a:cubicBezTo>
                        <a:pt x="64" y="122"/>
                        <a:pt x="65" y="122"/>
                        <a:pt x="65" y="123"/>
                      </a:cubicBezTo>
                      <a:cubicBezTo>
                        <a:pt x="66" y="124"/>
                        <a:pt x="67" y="125"/>
                        <a:pt x="68" y="126"/>
                      </a:cubicBezTo>
                      <a:cubicBezTo>
                        <a:pt x="68" y="130"/>
                        <a:pt x="68" y="130"/>
                        <a:pt x="68" y="130"/>
                      </a:cubicBezTo>
                      <a:cubicBezTo>
                        <a:pt x="67" y="129"/>
                        <a:pt x="66" y="128"/>
                        <a:pt x="65" y="127"/>
                      </a:cubicBezTo>
                      <a:close/>
                      <a:moveTo>
                        <a:pt x="77" y="138"/>
                      </a:moveTo>
                      <a:cubicBezTo>
                        <a:pt x="75" y="137"/>
                        <a:pt x="74" y="136"/>
                        <a:pt x="72" y="134"/>
                      </a:cubicBezTo>
                      <a:cubicBezTo>
                        <a:pt x="72" y="130"/>
                        <a:pt x="72" y="130"/>
                        <a:pt x="72" y="130"/>
                      </a:cubicBezTo>
                      <a:cubicBezTo>
                        <a:pt x="73" y="132"/>
                        <a:pt x="75" y="133"/>
                        <a:pt x="76" y="134"/>
                      </a:cubicBezTo>
                      <a:cubicBezTo>
                        <a:pt x="77" y="134"/>
                        <a:pt x="77" y="134"/>
                        <a:pt x="77" y="135"/>
                      </a:cubicBezTo>
                      <a:cubicBezTo>
                        <a:pt x="77" y="125"/>
                        <a:pt x="77" y="125"/>
                        <a:pt x="77" y="125"/>
                      </a:cubicBezTo>
                      <a:cubicBezTo>
                        <a:pt x="77" y="124"/>
                        <a:pt x="77" y="124"/>
                        <a:pt x="77" y="124"/>
                      </a:cubicBezTo>
                      <a:cubicBezTo>
                        <a:pt x="77" y="119"/>
                        <a:pt x="77" y="119"/>
                        <a:pt x="77" y="119"/>
                      </a:cubicBezTo>
                      <a:cubicBezTo>
                        <a:pt x="76" y="119"/>
                        <a:pt x="74" y="118"/>
                        <a:pt x="73" y="118"/>
                      </a:cubicBezTo>
                      <a:cubicBezTo>
                        <a:pt x="73" y="117"/>
                        <a:pt x="73" y="117"/>
                        <a:pt x="73" y="117"/>
                      </a:cubicBezTo>
                      <a:cubicBezTo>
                        <a:pt x="72" y="114"/>
                        <a:pt x="72" y="114"/>
                        <a:pt x="72" y="114"/>
                      </a:cubicBezTo>
                      <a:cubicBezTo>
                        <a:pt x="72" y="114"/>
                        <a:pt x="72" y="114"/>
                        <a:pt x="72" y="114"/>
                      </a:cubicBezTo>
                      <a:cubicBezTo>
                        <a:pt x="72" y="113"/>
                        <a:pt x="72" y="113"/>
                        <a:pt x="72" y="113"/>
                      </a:cubicBezTo>
                      <a:cubicBezTo>
                        <a:pt x="74" y="114"/>
                        <a:pt x="76" y="114"/>
                        <a:pt x="78" y="115"/>
                      </a:cubicBezTo>
                      <a:cubicBezTo>
                        <a:pt x="79" y="115"/>
                        <a:pt x="80" y="116"/>
                        <a:pt x="81" y="116"/>
                      </a:cubicBezTo>
                      <a:cubicBezTo>
                        <a:pt x="81" y="121"/>
                        <a:pt x="81" y="121"/>
                        <a:pt x="81" y="121"/>
                      </a:cubicBezTo>
                      <a:cubicBezTo>
                        <a:pt x="81" y="128"/>
                        <a:pt x="81" y="128"/>
                        <a:pt x="81" y="128"/>
                      </a:cubicBezTo>
                      <a:cubicBezTo>
                        <a:pt x="81" y="137"/>
                        <a:pt x="81" y="137"/>
                        <a:pt x="81" y="137"/>
                      </a:cubicBezTo>
                      <a:cubicBezTo>
                        <a:pt x="83" y="138"/>
                        <a:pt x="85" y="140"/>
                        <a:pt x="87" y="141"/>
                      </a:cubicBezTo>
                      <a:cubicBezTo>
                        <a:pt x="87" y="145"/>
                        <a:pt x="87" y="145"/>
                        <a:pt x="87" y="145"/>
                      </a:cubicBezTo>
                      <a:cubicBezTo>
                        <a:pt x="83" y="143"/>
                        <a:pt x="80" y="141"/>
                        <a:pt x="77" y="138"/>
                      </a:cubicBezTo>
                      <a:close/>
                      <a:moveTo>
                        <a:pt x="110" y="149"/>
                      </a:moveTo>
                      <a:cubicBezTo>
                        <a:pt x="109" y="150"/>
                        <a:pt x="109" y="150"/>
                        <a:pt x="108" y="151"/>
                      </a:cubicBezTo>
                      <a:cubicBezTo>
                        <a:pt x="107" y="153"/>
                        <a:pt x="105" y="153"/>
                        <a:pt x="103" y="153"/>
                      </a:cubicBezTo>
                      <a:cubicBezTo>
                        <a:pt x="100" y="152"/>
                        <a:pt x="96" y="149"/>
                        <a:pt x="95" y="146"/>
                      </a:cubicBezTo>
                      <a:cubicBezTo>
                        <a:pt x="94" y="145"/>
                        <a:pt x="93" y="139"/>
                        <a:pt x="93" y="134"/>
                      </a:cubicBezTo>
                      <a:cubicBezTo>
                        <a:pt x="93" y="132"/>
                        <a:pt x="93" y="130"/>
                        <a:pt x="94" y="129"/>
                      </a:cubicBezTo>
                      <a:cubicBezTo>
                        <a:pt x="95" y="126"/>
                        <a:pt x="97" y="126"/>
                        <a:pt x="101" y="127"/>
                      </a:cubicBezTo>
                      <a:cubicBezTo>
                        <a:pt x="106" y="128"/>
                        <a:pt x="108" y="131"/>
                        <a:pt x="109" y="134"/>
                      </a:cubicBezTo>
                      <a:cubicBezTo>
                        <a:pt x="109" y="135"/>
                        <a:pt x="109" y="135"/>
                        <a:pt x="110" y="135"/>
                      </a:cubicBezTo>
                      <a:cubicBezTo>
                        <a:pt x="110" y="137"/>
                        <a:pt x="110" y="138"/>
                        <a:pt x="111" y="140"/>
                      </a:cubicBezTo>
                      <a:cubicBezTo>
                        <a:pt x="111" y="145"/>
                        <a:pt x="110" y="149"/>
                        <a:pt x="110" y="149"/>
                      </a:cubicBezTo>
                      <a:close/>
                      <a:moveTo>
                        <a:pt x="119" y="157"/>
                      </a:moveTo>
                      <a:cubicBezTo>
                        <a:pt x="119" y="153"/>
                        <a:pt x="119" y="153"/>
                        <a:pt x="119" y="153"/>
                      </a:cubicBezTo>
                      <a:cubicBezTo>
                        <a:pt x="122" y="153"/>
                        <a:pt x="124" y="154"/>
                        <a:pt x="127" y="154"/>
                      </a:cubicBezTo>
                      <a:cubicBezTo>
                        <a:pt x="127" y="143"/>
                        <a:pt x="127" y="143"/>
                        <a:pt x="127" y="143"/>
                      </a:cubicBezTo>
                      <a:cubicBezTo>
                        <a:pt x="127" y="139"/>
                        <a:pt x="127" y="139"/>
                        <a:pt x="127" y="139"/>
                      </a:cubicBezTo>
                      <a:cubicBezTo>
                        <a:pt x="125" y="139"/>
                        <a:pt x="122" y="139"/>
                        <a:pt x="120" y="140"/>
                      </a:cubicBezTo>
                      <a:cubicBezTo>
                        <a:pt x="119" y="137"/>
                        <a:pt x="119" y="137"/>
                        <a:pt x="119" y="137"/>
                      </a:cubicBezTo>
                      <a:cubicBezTo>
                        <a:pt x="118" y="135"/>
                        <a:pt x="118" y="135"/>
                        <a:pt x="118" y="135"/>
                      </a:cubicBezTo>
                      <a:cubicBezTo>
                        <a:pt x="122" y="135"/>
                        <a:pt x="126" y="134"/>
                        <a:pt x="129" y="134"/>
                      </a:cubicBezTo>
                      <a:cubicBezTo>
                        <a:pt x="130" y="134"/>
                        <a:pt x="131" y="134"/>
                        <a:pt x="132" y="134"/>
                      </a:cubicBezTo>
                      <a:cubicBezTo>
                        <a:pt x="132" y="139"/>
                        <a:pt x="132" y="139"/>
                        <a:pt x="132" y="139"/>
                      </a:cubicBezTo>
                      <a:cubicBezTo>
                        <a:pt x="132" y="144"/>
                        <a:pt x="132" y="144"/>
                        <a:pt x="132" y="144"/>
                      </a:cubicBezTo>
                      <a:cubicBezTo>
                        <a:pt x="132" y="155"/>
                        <a:pt x="132" y="155"/>
                        <a:pt x="132" y="155"/>
                      </a:cubicBezTo>
                      <a:cubicBezTo>
                        <a:pt x="135" y="155"/>
                        <a:pt x="138" y="155"/>
                        <a:pt x="141" y="156"/>
                      </a:cubicBezTo>
                      <a:cubicBezTo>
                        <a:pt x="141" y="160"/>
                        <a:pt x="141" y="160"/>
                        <a:pt x="141" y="160"/>
                      </a:cubicBezTo>
                      <a:cubicBezTo>
                        <a:pt x="133" y="159"/>
                        <a:pt x="126" y="158"/>
                        <a:pt x="119" y="157"/>
                      </a:cubicBezTo>
                      <a:close/>
                      <a:moveTo>
                        <a:pt x="152" y="159"/>
                      </a:moveTo>
                      <a:cubicBezTo>
                        <a:pt x="152" y="159"/>
                        <a:pt x="152" y="159"/>
                        <a:pt x="152" y="158"/>
                      </a:cubicBezTo>
                      <a:cubicBezTo>
                        <a:pt x="148" y="155"/>
                        <a:pt x="148" y="149"/>
                        <a:pt x="148" y="145"/>
                      </a:cubicBezTo>
                      <a:cubicBezTo>
                        <a:pt x="148" y="144"/>
                        <a:pt x="149" y="143"/>
                        <a:pt x="149" y="142"/>
                      </a:cubicBezTo>
                      <a:cubicBezTo>
                        <a:pt x="149" y="141"/>
                        <a:pt x="150" y="140"/>
                        <a:pt x="150" y="139"/>
                      </a:cubicBezTo>
                      <a:cubicBezTo>
                        <a:pt x="153" y="136"/>
                        <a:pt x="157" y="135"/>
                        <a:pt x="159" y="135"/>
                      </a:cubicBezTo>
                      <a:cubicBezTo>
                        <a:pt x="163" y="135"/>
                        <a:pt x="166" y="136"/>
                        <a:pt x="167" y="138"/>
                      </a:cubicBezTo>
                      <a:cubicBezTo>
                        <a:pt x="168" y="140"/>
                        <a:pt x="169" y="141"/>
                        <a:pt x="169" y="144"/>
                      </a:cubicBezTo>
                      <a:cubicBezTo>
                        <a:pt x="169" y="144"/>
                        <a:pt x="169" y="144"/>
                        <a:pt x="169" y="144"/>
                      </a:cubicBezTo>
                      <a:cubicBezTo>
                        <a:pt x="172" y="160"/>
                        <a:pt x="158" y="163"/>
                        <a:pt x="152" y="159"/>
                      </a:cubicBezTo>
                      <a:close/>
                      <a:moveTo>
                        <a:pt x="195" y="153"/>
                      </a:moveTo>
                      <a:cubicBezTo>
                        <a:pt x="194" y="154"/>
                        <a:pt x="192" y="154"/>
                        <a:pt x="191" y="155"/>
                      </a:cubicBezTo>
                      <a:cubicBezTo>
                        <a:pt x="191" y="155"/>
                        <a:pt x="190" y="155"/>
                        <a:pt x="189" y="155"/>
                      </a:cubicBezTo>
                      <a:cubicBezTo>
                        <a:pt x="186" y="156"/>
                        <a:pt x="182" y="157"/>
                        <a:pt x="179" y="158"/>
                      </a:cubicBezTo>
                      <a:cubicBezTo>
                        <a:pt x="179" y="153"/>
                        <a:pt x="179" y="153"/>
                        <a:pt x="179" y="153"/>
                      </a:cubicBezTo>
                      <a:cubicBezTo>
                        <a:pt x="181" y="153"/>
                        <a:pt x="184" y="152"/>
                        <a:pt x="187" y="152"/>
                      </a:cubicBezTo>
                      <a:cubicBezTo>
                        <a:pt x="187" y="140"/>
                        <a:pt x="187" y="140"/>
                        <a:pt x="187" y="140"/>
                      </a:cubicBezTo>
                      <a:cubicBezTo>
                        <a:pt x="187" y="136"/>
                        <a:pt x="187" y="136"/>
                        <a:pt x="187" y="136"/>
                      </a:cubicBezTo>
                      <a:cubicBezTo>
                        <a:pt x="185" y="137"/>
                        <a:pt x="182" y="139"/>
                        <a:pt x="180" y="140"/>
                      </a:cubicBezTo>
                      <a:cubicBezTo>
                        <a:pt x="178" y="137"/>
                        <a:pt x="178" y="137"/>
                        <a:pt x="178" y="137"/>
                      </a:cubicBezTo>
                      <a:cubicBezTo>
                        <a:pt x="178" y="136"/>
                        <a:pt x="178" y="136"/>
                        <a:pt x="178" y="136"/>
                      </a:cubicBezTo>
                      <a:cubicBezTo>
                        <a:pt x="181" y="135"/>
                        <a:pt x="185" y="132"/>
                        <a:pt x="189" y="131"/>
                      </a:cubicBezTo>
                      <a:cubicBezTo>
                        <a:pt x="189" y="130"/>
                        <a:pt x="190" y="130"/>
                        <a:pt x="191" y="130"/>
                      </a:cubicBezTo>
                      <a:cubicBezTo>
                        <a:pt x="192" y="130"/>
                        <a:pt x="192" y="130"/>
                        <a:pt x="192" y="129"/>
                      </a:cubicBezTo>
                      <a:cubicBezTo>
                        <a:pt x="192" y="133"/>
                        <a:pt x="192" y="133"/>
                        <a:pt x="192" y="133"/>
                      </a:cubicBezTo>
                      <a:cubicBezTo>
                        <a:pt x="192" y="139"/>
                        <a:pt x="192" y="139"/>
                        <a:pt x="192" y="139"/>
                      </a:cubicBezTo>
                      <a:cubicBezTo>
                        <a:pt x="192" y="150"/>
                        <a:pt x="192" y="150"/>
                        <a:pt x="192" y="150"/>
                      </a:cubicBezTo>
                      <a:cubicBezTo>
                        <a:pt x="193" y="150"/>
                        <a:pt x="194" y="149"/>
                        <a:pt x="195" y="149"/>
                      </a:cubicBezTo>
                      <a:cubicBezTo>
                        <a:pt x="197" y="149"/>
                        <a:pt x="198" y="148"/>
                        <a:pt x="200" y="147"/>
                      </a:cubicBezTo>
                      <a:cubicBezTo>
                        <a:pt x="200" y="152"/>
                        <a:pt x="200" y="152"/>
                        <a:pt x="200" y="152"/>
                      </a:cubicBezTo>
                      <a:cubicBezTo>
                        <a:pt x="198" y="152"/>
                        <a:pt x="197" y="153"/>
                        <a:pt x="195" y="153"/>
                      </a:cubicBezTo>
                      <a:close/>
                      <a:moveTo>
                        <a:pt x="221" y="141"/>
                      </a:moveTo>
                      <a:cubicBezTo>
                        <a:pt x="217" y="144"/>
                        <a:pt x="212" y="147"/>
                        <a:pt x="207" y="149"/>
                      </a:cubicBezTo>
                      <a:cubicBezTo>
                        <a:pt x="207" y="145"/>
                        <a:pt x="207" y="145"/>
                        <a:pt x="207" y="145"/>
                      </a:cubicBezTo>
                      <a:cubicBezTo>
                        <a:pt x="209" y="144"/>
                        <a:pt x="211" y="143"/>
                        <a:pt x="214" y="141"/>
                      </a:cubicBezTo>
                      <a:cubicBezTo>
                        <a:pt x="214" y="129"/>
                        <a:pt x="214" y="129"/>
                        <a:pt x="214" y="129"/>
                      </a:cubicBezTo>
                      <a:cubicBezTo>
                        <a:pt x="214" y="126"/>
                        <a:pt x="214" y="126"/>
                        <a:pt x="214" y="126"/>
                      </a:cubicBezTo>
                      <a:cubicBezTo>
                        <a:pt x="212" y="128"/>
                        <a:pt x="210" y="129"/>
                        <a:pt x="208" y="131"/>
                      </a:cubicBezTo>
                      <a:cubicBezTo>
                        <a:pt x="206" y="128"/>
                        <a:pt x="206" y="128"/>
                        <a:pt x="206" y="128"/>
                      </a:cubicBezTo>
                      <a:cubicBezTo>
                        <a:pt x="207" y="128"/>
                        <a:pt x="207" y="127"/>
                        <a:pt x="208" y="127"/>
                      </a:cubicBezTo>
                      <a:cubicBezTo>
                        <a:pt x="210" y="125"/>
                        <a:pt x="213" y="122"/>
                        <a:pt x="215" y="120"/>
                      </a:cubicBezTo>
                      <a:cubicBezTo>
                        <a:pt x="216" y="120"/>
                        <a:pt x="217" y="119"/>
                        <a:pt x="218" y="118"/>
                      </a:cubicBezTo>
                      <a:cubicBezTo>
                        <a:pt x="218" y="121"/>
                        <a:pt x="218" y="121"/>
                        <a:pt x="218" y="121"/>
                      </a:cubicBezTo>
                      <a:cubicBezTo>
                        <a:pt x="218" y="127"/>
                        <a:pt x="218" y="127"/>
                        <a:pt x="218" y="127"/>
                      </a:cubicBezTo>
                      <a:cubicBezTo>
                        <a:pt x="218" y="139"/>
                        <a:pt x="218" y="139"/>
                        <a:pt x="218" y="139"/>
                      </a:cubicBezTo>
                      <a:cubicBezTo>
                        <a:pt x="219" y="138"/>
                        <a:pt x="220" y="138"/>
                        <a:pt x="221" y="137"/>
                      </a:cubicBezTo>
                      <a:cubicBezTo>
                        <a:pt x="222" y="136"/>
                        <a:pt x="223" y="136"/>
                        <a:pt x="223" y="135"/>
                      </a:cubicBezTo>
                      <a:cubicBezTo>
                        <a:pt x="223" y="139"/>
                        <a:pt x="223" y="139"/>
                        <a:pt x="223" y="139"/>
                      </a:cubicBezTo>
                      <a:cubicBezTo>
                        <a:pt x="223" y="140"/>
                        <a:pt x="222" y="141"/>
                        <a:pt x="221" y="141"/>
                      </a:cubicBezTo>
                      <a:close/>
                      <a:moveTo>
                        <a:pt x="237" y="123"/>
                      </a:moveTo>
                      <a:cubicBezTo>
                        <a:pt x="237" y="126"/>
                        <a:pt x="236" y="128"/>
                        <a:pt x="234" y="130"/>
                      </a:cubicBezTo>
                      <a:cubicBezTo>
                        <a:pt x="233" y="132"/>
                        <a:pt x="232" y="133"/>
                        <a:pt x="231" y="133"/>
                      </a:cubicBezTo>
                      <a:cubicBezTo>
                        <a:pt x="230" y="133"/>
                        <a:pt x="229" y="132"/>
                        <a:pt x="229" y="130"/>
                      </a:cubicBezTo>
                      <a:cubicBezTo>
                        <a:pt x="228" y="127"/>
                        <a:pt x="227" y="123"/>
                        <a:pt x="228" y="119"/>
                      </a:cubicBezTo>
                      <a:cubicBezTo>
                        <a:pt x="229" y="115"/>
                        <a:pt x="230" y="112"/>
                        <a:pt x="232" y="108"/>
                      </a:cubicBezTo>
                      <a:cubicBezTo>
                        <a:pt x="232" y="107"/>
                        <a:pt x="233" y="106"/>
                        <a:pt x="234" y="106"/>
                      </a:cubicBezTo>
                      <a:cubicBezTo>
                        <a:pt x="235" y="104"/>
                        <a:pt x="236" y="103"/>
                        <a:pt x="237" y="104"/>
                      </a:cubicBezTo>
                      <a:cubicBezTo>
                        <a:pt x="237" y="104"/>
                        <a:pt x="237" y="104"/>
                        <a:pt x="237" y="104"/>
                      </a:cubicBezTo>
                      <a:cubicBezTo>
                        <a:pt x="237" y="104"/>
                        <a:pt x="237" y="104"/>
                        <a:pt x="237" y="104"/>
                      </a:cubicBezTo>
                      <a:cubicBezTo>
                        <a:pt x="239" y="107"/>
                        <a:pt x="239" y="117"/>
                        <a:pt x="237" y="123"/>
                      </a:cubicBezTo>
                      <a:close/>
                      <a:moveTo>
                        <a:pt x="256" y="112"/>
                      </a:moveTo>
                      <a:cubicBezTo>
                        <a:pt x="250" y="112"/>
                        <a:pt x="249" y="106"/>
                        <a:pt x="249" y="101"/>
                      </a:cubicBezTo>
                      <a:cubicBezTo>
                        <a:pt x="249" y="96"/>
                        <a:pt x="250" y="90"/>
                        <a:pt x="256" y="90"/>
                      </a:cubicBezTo>
                      <a:cubicBezTo>
                        <a:pt x="263" y="90"/>
                        <a:pt x="264" y="96"/>
                        <a:pt x="264" y="101"/>
                      </a:cubicBezTo>
                      <a:cubicBezTo>
                        <a:pt x="264" y="106"/>
                        <a:pt x="263" y="112"/>
                        <a:pt x="256" y="112"/>
                      </a:cubicBezTo>
                      <a:close/>
                      <a:moveTo>
                        <a:pt x="287" y="112"/>
                      </a:moveTo>
                      <a:cubicBezTo>
                        <a:pt x="271" y="112"/>
                        <a:pt x="271" y="112"/>
                        <a:pt x="271" y="112"/>
                      </a:cubicBezTo>
                      <a:cubicBezTo>
                        <a:pt x="271" y="108"/>
                        <a:pt x="271" y="108"/>
                        <a:pt x="271" y="108"/>
                      </a:cubicBezTo>
                      <a:cubicBezTo>
                        <a:pt x="277" y="108"/>
                        <a:pt x="277" y="108"/>
                        <a:pt x="277" y="108"/>
                      </a:cubicBezTo>
                      <a:cubicBezTo>
                        <a:pt x="277" y="94"/>
                        <a:pt x="277" y="94"/>
                        <a:pt x="277" y="94"/>
                      </a:cubicBezTo>
                      <a:cubicBezTo>
                        <a:pt x="272" y="97"/>
                        <a:pt x="272" y="97"/>
                        <a:pt x="272" y="97"/>
                      </a:cubicBezTo>
                      <a:cubicBezTo>
                        <a:pt x="270" y="93"/>
                        <a:pt x="270" y="93"/>
                        <a:pt x="270" y="93"/>
                      </a:cubicBezTo>
                      <a:cubicBezTo>
                        <a:pt x="278" y="90"/>
                        <a:pt x="278" y="90"/>
                        <a:pt x="278" y="90"/>
                      </a:cubicBezTo>
                      <a:cubicBezTo>
                        <a:pt x="281" y="90"/>
                        <a:pt x="281" y="90"/>
                        <a:pt x="281" y="90"/>
                      </a:cubicBezTo>
                      <a:cubicBezTo>
                        <a:pt x="281" y="108"/>
                        <a:pt x="281" y="108"/>
                        <a:pt x="281" y="108"/>
                      </a:cubicBezTo>
                      <a:cubicBezTo>
                        <a:pt x="287" y="108"/>
                        <a:pt x="287" y="108"/>
                        <a:pt x="287" y="108"/>
                      </a:cubicBezTo>
                      <a:cubicBezTo>
                        <a:pt x="287" y="112"/>
                        <a:pt x="287" y="112"/>
                        <a:pt x="287" y="112"/>
                      </a:cubicBezTo>
                      <a:cubicBezTo>
                        <a:pt x="287" y="112"/>
                        <a:pt x="287" y="112"/>
                        <a:pt x="287" y="112"/>
                      </a:cubicBezTo>
                      <a:close/>
                      <a:moveTo>
                        <a:pt x="104" y="133"/>
                      </a:moveTo>
                      <a:cubicBezTo>
                        <a:pt x="104" y="133"/>
                        <a:pt x="104" y="133"/>
                        <a:pt x="103" y="132"/>
                      </a:cubicBezTo>
                      <a:cubicBezTo>
                        <a:pt x="102" y="131"/>
                        <a:pt x="101" y="130"/>
                        <a:pt x="100" y="131"/>
                      </a:cubicBezTo>
                      <a:cubicBezTo>
                        <a:pt x="99" y="131"/>
                        <a:pt x="99" y="131"/>
                        <a:pt x="99" y="131"/>
                      </a:cubicBezTo>
                      <a:cubicBezTo>
                        <a:pt x="98" y="132"/>
                        <a:pt x="97" y="134"/>
                        <a:pt x="97" y="136"/>
                      </a:cubicBezTo>
                      <a:cubicBezTo>
                        <a:pt x="97" y="138"/>
                        <a:pt x="97" y="140"/>
                        <a:pt x="97" y="141"/>
                      </a:cubicBezTo>
                      <a:cubicBezTo>
                        <a:pt x="98" y="147"/>
                        <a:pt x="101" y="148"/>
                        <a:pt x="101" y="148"/>
                      </a:cubicBezTo>
                      <a:cubicBezTo>
                        <a:pt x="102" y="148"/>
                        <a:pt x="102" y="148"/>
                        <a:pt x="103" y="148"/>
                      </a:cubicBezTo>
                      <a:cubicBezTo>
                        <a:pt x="104" y="148"/>
                        <a:pt x="104" y="148"/>
                        <a:pt x="105" y="147"/>
                      </a:cubicBezTo>
                      <a:cubicBezTo>
                        <a:pt x="106" y="145"/>
                        <a:pt x="106" y="142"/>
                        <a:pt x="106" y="139"/>
                      </a:cubicBezTo>
                      <a:cubicBezTo>
                        <a:pt x="105" y="137"/>
                        <a:pt x="105" y="135"/>
                        <a:pt x="104" y="133"/>
                      </a:cubicBezTo>
                      <a:close/>
                      <a:moveTo>
                        <a:pt x="235" y="109"/>
                      </a:moveTo>
                      <a:cubicBezTo>
                        <a:pt x="234" y="109"/>
                        <a:pt x="232" y="110"/>
                        <a:pt x="232" y="116"/>
                      </a:cubicBezTo>
                      <a:cubicBezTo>
                        <a:pt x="231" y="117"/>
                        <a:pt x="231" y="119"/>
                        <a:pt x="231" y="122"/>
                      </a:cubicBezTo>
                      <a:cubicBezTo>
                        <a:pt x="231" y="125"/>
                        <a:pt x="232" y="129"/>
                        <a:pt x="234" y="127"/>
                      </a:cubicBezTo>
                      <a:cubicBezTo>
                        <a:pt x="236" y="124"/>
                        <a:pt x="236" y="115"/>
                        <a:pt x="236" y="111"/>
                      </a:cubicBezTo>
                      <a:cubicBezTo>
                        <a:pt x="235" y="110"/>
                        <a:pt x="235" y="109"/>
                        <a:pt x="235" y="109"/>
                      </a:cubicBez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7" name="Freeform 198"/>
                <p:cNvSpPr>
                  <a:spLocks noEditPoints="1"/>
                </p:cNvSpPr>
                <p:nvPr/>
              </p:nvSpPr>
              <p:spPr bwMode="auto">
                <a:xfrm>
                  <a:off x="11581770" y="1479207"/>
                  <a:ext cx="112061" cy="128276"/>
                </a:xfrm>
                <a:custGeom>
                  <a:avLst/>
                  <a:gdLst>
                    <a:gd name="T0" fmla="*/ 102 w 102"/>
                    <a:gd name="T1" fmla="*/ 21 h 112"/>
                    <a:gd name="T2" fmla="*/ 101 w 102"/>
                    <a:gd name="T3" fmla="*/ 20 h 112"/>
                    <a:gd name="T4" fmla="*/ 101 w 102"/>
                    <a:gd name="T5" fmla="*/ 19 h 112"/>
                    <a:gd name="T6" fmla="*/ 100 w 102"/>
                    <a:gd name="T7" fmla="*/ 18 h 112"/>
                    <a:gd name="T8" fmla="*/ 100 w 102"/>
                    <a:gd name="T9" fmla="*/ 17 h 112"/>
                    <a:gd name="T10" fmla="*/ 99 w 102"/>
                    <a:gd name="T11" fmla="*/ 17 h 112"/>
                    <a:gd name="T12" fmla="*/ 98 w 102"/>
                    <a:gd name="T13" fmla="*/ 17 h 112"/>
                    <a:gd name="T14" fmla="*/ 97 w 102"/>
                    <a:gd name="T15" fmla="*/ 16 h 112"/>
                    <a:gd name="T16" fmla="*/ 96 w 102"/>
                    <a:gd name="T17" fmla="*/ 16 h 112"/>
                    <a:gd name="T18" fmla="*/ 11 w 102"/>
                    <a:gd name="T19" fmla="*/ 5 h 112"/>
                    <a:gd name="T20" fmla="*/ 0 w 102"/>
                    <a:gd name="T21" fmla="*/ 8 h 112"/>
                    <a:gd name="T22" fmla="*/ 23 w 102"/>
                    <a:gd name="T23" fmla="*/ 94 h 112"/>
                    <a:gd name="T24" fmla="*/ 23 w 102"/>
                    <a:gd name="T25" fmla="*/ 96 h 112"/>
                    <a:gd name="T26" fmla="*/ 24 w 102"/>
                    <a:gd name="T27" fmla="*/ 96 h 112"/>
                    <a:gd name="T28" fmla="*/ 25 w 102"/>
                    <a:gd name="T29" fmla="*/ 97 h 112"/>
                    <a:gd name="T30" fmla="*/ 26 w 102"/>
                    <a:gd name="T31" fmla="*/ 98 h 112"/>
                    <a:gd name="T32" fmla="*/ 26 w 102"/>
                    <a:gd name="T33" fmla="*/ 98 h 112"/>
                    <a:gd name="T34" fmla="*/ 43 w 102"/>
                    <a:gd name="T35" fmla="*/ 98 h 112"/>
                    <a:gd name="T36" fmla="*/ 77 w 102"/>
                    <a:gd name="T37" fmla="*/ 94 h 112"/>
                    <a:gd name="T38" fmla="*/ 91 w 102"/>
                    <a:gd name="T39" fmla="*/ 93 h 112"/>
                    <a:gd name="T40" fmla="*/ 32 w 102"/>
                    <a:gd name="T41" fmla="*/ 87 h 112"/>
                    <a:gd name="T42" fmla="*/ 91 w 102"/>
                    <a:gd name="T43" fmla="*/ 66 h 112"/>
                    <a:gd name="T44" fmla="*/ 92 w 102"/>
                    <a:gd name="T45" fmla="*/ 66 h 112"/>
                    <a:gd name="T46" fmla="*/ 93 w 102"/>
                    <a:gd name="T47" fmla="*/ 66 h 112"/>
                    <a:gd name="T48" fmla="*/ 94 w 102"/>
                    <a:gd name="T49" fmla="*/ 65 h 112"/>
                    <a:gd name="T50" fmla="*/ 94 w 102"/>
                    <a:gd name="T51" fmla="*/ 65 h 112"/>
                    <a:gd name="T52" fmla="*/ 95 w 102"/>
                    <a:gd name="T53" fmla="*/ 64 h 112"/>
                    <a:gd name="T54" fmla="*/ 96 w 102"/>
                    <a:gd name="T55" fmla="*/ 63 h 112"/>
                    <a:gd name="T56" fmla="*/ 96 w 102"/>
                    <a:gd name="T57" fmla="*/ 62 h 112"/>
                    <a:gd name="T58" fmla="*/ 96 w 102"/>
                    <a:gd name="T59" fmla="*/ 61 h 112"/>
                    <a:gd name="T60" fmla="*/ 102 w 102"/>
                    <a:gd name="T61" fmla="*/ 22 h 112"/>
                    <a:gd name="T62" fmla="*/ 102 w 102"/>
                    <a:gd name="T63" fmla="*/ 22 h 112"/>
                    <a:gd name="T64" fmla="*/ 24 w 102"/>
                    <a:gd name="T65" fmla="*/ 55 h 112"/>
                    <a:gd name="T66" fmla="*/ 87 w 102"/>
                    <a:gd name="T67" fmla="*/ 47 h 112"/>
                    <a:gd name="T68" fmla="*/ 86 w 102"/>
                    <a:gd name="T69" fmla="*/ 55 h 112"/>
                    <a:gd name="T70" fmla="*/ 19 w 102"/>
                    <a:gd name="T71" fmla="*/ 35 h 112"/>
                    <a:gd name="T72" fmla="*/ 90 w 102"/>
                    <a:gd name="T73" fmla="*/ 27 h 112"/>
                    <a:gd name="T74" fmla="*/ 89 w 102"/>
                    <a:gd name="T75" fmla="*/ 35 h 112"/>
                    <a:gd name="T76" fmla="*/ 34 w 102"/>
                    <a:gd name="T77" fmla="*/ 112 h 112"/>
                    <a:gd name="T78" fmla="*/ 34 w 102"/>
                    <a:gd name="T79" fmla="*/ 97 h 112"/>
                    <a:gd name="T80" fmla="*/ 85 w 102"/>
                    <a:gd name="T81" fmla="*/ 105 h 112"/>
                    <a:gd name="T82" fmla="*/ 69 w 102"/>
                    <a:gd name="T83" fmla="*/ 105 h 112"/>
                    <a:gd name="T84" fmla="*/ 85 w 102"/>
                    <a:gd name="T85" fmla="*/ 10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2" h="112">
                      <a:moveTo>
                        <a:pt x="102" y="22"/>
                      </a:moveTo>
                      <a:cubicBezTo>
                        <a:pt x="102" y="21"/>
                        <a:pt x="102" y="21"/>
                        <a:pt x="102" y="21"/>
                      </a:cubicBezTo>
                      <a:cubicBezTo>
                        <a:pt x="102" y="21"/>
                        <a:pt x="102" y="21"/>
                        <a:pt x="102" y="21"/>
                      </a:cubicBezTo>
                      <a:cubicBezTo>
                        <a:pt x="101" y="20"/>
                        <a:pt x="101" y="20"/>
                        <a:pt x="101" y="20"/>
                      </a:cubicBezTo>
                      <a:cubicBezTo>
                        <a:pt x="101" y="20"/>
                        <a:pt x="101" y="20"/>
                        <a:pt x="101" y="20"/>
                      </a:cubicBezTo>
                      <a:cubicBezTo>
                        <a:pt x="101" y="19"/>
                        <a:pt x="101" y="19"/>
                        <a:pt x="101" y="19"/>
                      </a:cubicBezTo>
                      <a:cubicBezTo>
                        <a:pt x="101" y="19"/>
                        <a:pt x="101" y="19"/>
                        <a:pt x="101" y="19"/>
                      </a:cubicBezTo>
                      <a:cubicBezTo>
                        <a:pt x="101" y="19"/>
                        <a:pt x="101" y="19"/>
                        <a:pt x="100" y="18"/>
                      </a:cubicBezTo>
                      <a:cubicBezTo>
                        <a:pt x="100" y="18"/>
                        <a:pt x="100" y="18"/>
                        <a:pt x="100" y="18"/>
                      </a:cubicBezTo>
                      <a:cubicBezTo>
                        <a:pt x="100" y="18"/>
                        <a:pt x="100" y="18"/>
                        <a:pt x="100" y="17"/>
                      </a:cubicBezTo>
                      <a:cubicBezTo>
                        <a:pt x="100" y="17"/>
                        <a:pt x="99" y="17"/>
                        <a:pt x="99" y="17"/>
                      </a:cubicBezTo>
                      <a:cubicBezTo>
                        <a:pt x="99" y="17"/>
                        <a:pt x="99" y="17"/>
                        <a:pt x="99" y="17"/>
                      </a:cubicBezTo>
                      <a:cubicBezTo>
                        <a:pt x="98" y="17"/>
                        <a:pt x="98" y="17"/>
                        <a:pt x="98" y="17"/>
                      </a:cubicBezTo>
                      <a:cubicBezTo>
                        <a:pt x="98" y="17"/>
                        <a:pt x="98" y="17"/>
                        <a:pt x="98" y="17"/>
                      </a:cubicBezTo>
                      <a:cubicBezTo>
                        <a:pt x="98" y="16"/>
                        <a:pt x="97" y="16"/>
                        <a:pt x="97" y="16"/>
                      </a:cubicBezTo>
                      <a:cubicBezTo>
                        <a:pt x="97" y="16"/>
                        <a:pt x="97" y="16"/>
                        <a:pt x="97" y="16"/>
                      </a:cubicBezTo>
                      <a:cubicBezTo>
                        <a:pt x="97" y="16"/>
                        <a:pt x="97" y="16"/>
                        <a:pt x="97" y="16"/>
                      </a:cubicBezTo>
                      <a:cubicBezTo>
                        <a:pt x="96" y="16"/>
                        <a:pt x="96" y="16"/>
                        <a:pt x="96" y="16"/>
                      </a:cubicBezTo>
                      <a:cubicBezTo>
                        <a:pt x="14" y="16"/>
                        <a:pt x="14" y="16"/>
                        <a:pt x="14" y="16"/>
                      </a:cubicBezTo>
                      <a:cubicBezTo>
                        <a:pt x="11" y="5"/>
                        <a:pt x="11" y="5"/>
                        <a:pt x="11" y="5"/>
                      </a:cubicBezTo>
                      <a:cubicBezTo>
                        <a:pt x="10" y="2"/>
                        <a:pt x="7" y="0"/>
                        <a:pt x="4" y="1"/>
                      </a:cubicBezTo>
                      <a:cubicBezTo>
                        <a:pt x="1" y="2"/>
                        <a:pt x="0" y="5"/>
                        <a:pt x="0" y="8"/>
                      </a:cubicBezTo>
                      <a:cubicBezTo>
                        <a:pt x="22" y="94"/>
                        <a:pt x="22" y="94"/>
                        <a:pt x="22" y="94"/>
                      </a:cubicBezTo>
                      <a:cubicBezTo>
                        <a:pt x="23" y="94"/>
                        <a:pt x="23" y="94"/>
                        <a:pt x="23" y="94"/>
                      </a:cubicBezTo>
                      <a:cubicBezTo>
                        <a:pt x="23" y="95"/>
                        <a:pt x="23" y="95"/>
                        <a:pt x="23" y="95"/>
                      </a:cubicBezTo>
                      <a:cubicBezTo>
                        <a:pt x="23" y="95"/>
                        <a:pt x="23" y="96"/>
                        <a:pt x="23" y="96"/>
                      </a:cubicBezTo>
                      <a:cubicBezTo>
                        <a:pt x="23" y="96"/>
                        <a:pt x="23" y="96"/>
                        <a:pt x="23" y="96"/>
                      </a:cubicBezTo>
                      <a:cubicBezTo>
                        <a:pt x="23" y="96"/>
                        <a:pt x="24" y="96"/>
                        <a:pt x="24" y="96"/>
                      </a:cubicBezTo>
                      <a:cubicBezTo>
                        <a:pt x="24" y="97"/>
                        <a:pt x="24" y="97"/>
                        <a:pt x="24" y="97"/>
                      </a:cubicBezTo>
                      <a:cubicBezTo>
                        <a:pt x="25" y="97"/>
                        <a:pt x="25" y="97"/>
                        <a:pt x="25" y="97"/>
                      </a:cubicBezTo>
                      <a:cubicBezTo>
                        <a:pt x="25" y="97"/>
                        <a:pt x="25" y="97"/>
                        <a:pt x="25" y="97"/>
                      </a:cubicBezTo>
                      <a:cubicBezTo>
                        <a:pt x="25" y="97"/>
                        <a:pt x="25" y="97"/>
                        <a:pt x="26" y="98"/>
                      </a:cubicBezTo>
                      <a:cubicBezTo>
                        <a:pt x="26" y="98"/>
                        <a:pt x="26" y="98"/>
                        <a:pt x="26" y="98"/>
                      </a:cubicBezTo>
                      <a:cubicBezTo>
                        <a:pt x="26" y="98"/>
                        <a:pt x="26" y="98"/>
                        <a:pt x="26" y="98"/>
                      </a:cubicBezTo>
                      <a:cubicBezTo>
                        <a:pt x="28" y="95"/>
                        <a:pt x="31" y="94"/>
                        <a:pt x="34" y="94"/>
                      </a:cubicBezTo>
                      <a:cubicBezTo>
                        <a:pt x="38" y="94"/>
                        <a:pt x="41" y="96"/>
                        <a:pt x="43" y="98"/>
                      </a:cubicBezTo>
                      <a:cubicBezTo>
                        <a:pt x="68" y="98"/>
                        <a:pt x="68" y="98"/>
                        <a:pt x="68" y="98"/>
                      </a:cubicBezTo>
                      <a:cubicBezTo>
                        <a:pt x="71" y="96"/>
                        <a:pt x="73" y="94"/>
                        <a:pt x="77" y="94"/>
                      </a:cubicBezTo>
                      <a:cubicBezTo>
                        <a:pt x="81" y="94"/>
                        <a:pt x="84" y="96"/>
                        <a:pt x="86" y="98"/>
                      </a:cubicBezTo>
                      <a:cubicBezTo>
                        <a:pt x="89" y="98"/>
                        <a:pt x="91" y="96"/>
                        <a:pt x="91" y="93"/>
                      </a:cubicBezTo>
                      <a:cubicBezTo>
                        <a:pt x="91" y="90"/>
                        <a:pt x="88" y="87"/>
                        <a:pt x="85" y="87"/>
                      </a:cubicBezTo>
                      <a:cubicBezTo>
                        <a:pt x="32" y="87"/>
                        <a:pt x="32" y="87"/>
                        <a:pt x="32" y="87"/>
                      </a:cubicBezTo>
                      <a:cubicBezTo>
                        <a:pt x="27" y="66"/>
                        <a:pt x="27" y="66"/>
                        <a:pt x="27" y="66"/>
                      </a:cubicBezTo>
                      <a:cubicBezTo>
                        <a:pt x="91" y="66"/>
                        <a:pt x="91" y="66"/>
                        <a:pt x="91" y="66"/>
                      </a:cubicBezTo>
                      <a:cubicBezTo>
                        <a:pt x="91" y="66"/>
                        <a:pt x="91" y="66"/>
                        <a:pt x="91" y="66"/>
                      </a:cubicBezTo>
                      <a:cubicBezTo>
                        <a:pt x="91" y="66"/>
                        <a:pt x="91" y="66"/>
                        <a:pt x="92" y="66"/>
                      </a:cubicBezTo>
                      <a:cubicBezTo>
                        <a:pt x="92" y="66"/>
                        <a:pt x="92" y="66"/>
                        <a:pt x="92" y="66"/>
                      </a:cubicBezTo>
                      <a:cubicBezTo>
                        <a:pt x="92" y="66"/>
                        <a:pt x="93" y="66"/>
                        <a:pt x="93" y="66"/>
                      </a:cubicBezTo>
                      <a:cubicBezTo>
                        <a:pt x="93" y="66"/>
                        <a:pt x="93" y="66"/>
                        <a:pt x="93" y="65"/>
                      </a:cubicBezTo>
                      <a:cubicBezTo>
                        <a:pt x="94" y="65"/>
                        <a:pt x="94" y="65"/>
                        <a:pt x="94" y="65"/>
                      </a:cubicBezTo>
                      <a:cubicBezTo>
                        <a:pt x="94" y="65"/>
                        <a:pt x="94" y="65"/>
                        <a:pt x="94" y="65"/>
                      </a:cubicBezTo>
                      <a:cubicBezTo>
                        <a:pt x="94" y="65"/>
                        <a:pt x="94" y="65"/>
                        <a:pt x="94" y="65"/>
                      </a:cubicBezTo>
                      <a:cubicBezTo>
                        <a:pt x="95" y="65"/>
                        <a:pt x="95" y="64"/>
                        <a:pt x="95" y="64"/>
                      </a:cubicBezTo>
                      <a:cubicBezTo>
                        <a:pt x="95" y="64"/>
                        <a:pt x="95" y="64"/>
                        <a:pt x="95" y="64"/>
                      </a:cubicBezTo>
                      <a:cubicBezTo>
                        <a:pt x="96" y="63"/>
                        <a:pt x="96" y="63"/>
                        <a:pt x="96" y="63"/>
                      </a:cubicBezTo>
                      <a:cubicBezTo>
                        <a:pt x="96" y="63"/>
                        <a:pt x="96" y="63"/>
                        <a:pt x="96" y="63"/>
                      </a:cubicBezTo>
                      <a:cubicBezTo>
                        <a:pt x="96" y="63"/>
                        <a:pt x="96" y="63"/>
                        <a:pt x="96" y="62"/>
                      </a:cubicBezTo>
                      <a:cubicBezTo>
                        <a:pt x="96" y="62"/>
                        <a:pt x="96" y="62"/>
                        <a:pt x="96" y="62"/>
                      </a:cubicBezTo>
                      <a:cubicBezTo>
                        <a:pt x="96" y="62"/>
                        <a:pt x="96" y="62"/>
                        <a:pt x="96" y="62"/>
                      </a:cubicBezTo>
                      <a:cubicBezTo>
                        <a:pt x="96" y="61"/>
                        <a:pt x="96" y="61"/>
                        <a:pt x="96" y="61"/>
                      </a:cubicBezTo>
                      <a:cubicBezTo>
                        <a:pt x="102" y="23"/>
                        <a:pt x="102" y="23"/>
                        <a:pt x="102" y="23"/>
                      </a:cubicBezTo>
                      <a:cubicBezTo>
                        <a:pt x="102" y="22"/>
                        <a:pt x="102" y="22"/>
                        <a:pt x="102" y="22"/>
                      </a:cubicBezTo>
                      <a:cubicBezTo>
                        <a:pt x="102" y="22"/>
                        <a:pt x="102" y="22"/>
                        <a:pt x="102" y="22"/>
                      </a:cubicBezTo>
                      <a:cubicBezTo>
                        <a:pt x="102" y="22"/>
                        <a:pt x="102" y="22"/>
                        <a:pt x="102" y="22"/>
                      </a:cubicBezTo>
                      <a:close/>
                      <a:moveTo>
                        <a:pt x="86" y="55"/>
                      </a:moveTo>
                      <a:cubicBezTo>
                        <a:pt x="24" y="55"/>
                        <a:pt x="24" y="55"/>
                        <a:pt x="24" y="55"/>
                      </a:cubicBezTo>
                      <a:cubicBezTo>
                        <a:pt x="22" y="47"/>
                        <a:pt x="22" y="47"/>
                        <a:pt x="22" y="47"/>
                      </a:cubicBezTo>
                      <a:cubicBezTo>
                        <a:pt x="87" y="47"/>
                        <a:pt x="87" y="47"/>
                        <a:pt x="87" y="47"/>
                      </a:cubicBezTo>
                      <a:cubicBezTo>
                        <a:pt x="86" y="55"/>
                        <a:pt x="86" y="55"/>
                        <a:pt x="86" y="55"/>
                      </a:cubicBezTo>
                      <a:cubicBezTo>
                        <a:pt x="86" y="55"/>
                        <a:pt x="86" y="55"/>
                        <a:pt x="86" y="55"/>
                      </a:cubicBezTo>
                      <a:close/>
                      <a:moveTo>
                        <a:pt x="89" y="35"/>
                      </a:moveTo>
                      <a:cubicBezTo>
                        <a:pt x="19" y="35"/>
                        <a:pt x="19" y="35"/>
                        <a:pt x="19" y="35"/>
                      </a:cubicBezTo>
                      <a:cubicBezTo>
                        <a:pt x="17" y="27"/>
                        <a:pt x="17" y="27"/>
                        <a:pt x="17" y="27"/>
                      </a:cubicBezTo>
                      <a:cubicBezTo>
                        <a:pt x="90" y="27"/>
                        <a:pt x="90" y="27"/>
                        <a:pt x="90" y="27"/>
                      </a:cubicBezTo>
                      <a:cubicBezTo>
                        <a:pt x="89" y="35"/>
                        <a:pt x="89" y="35"/>
                        <a:pt x="89" y="35"/>
                      </a:cubicBezTo>
                      <a:cubicBezTo>
                        <a:pt x="89" y="35"/>
                        <a:pt x="89" y="35"/>
                        <a:pt x="89" y="35"/>
                      </a:cubicBezTo>
                      <a:close/>
                      <a:moveTo>
                        <a:pt x="42" y="105"/>
                      </a:moveTo>
                      <a:cubicBezTo>
                        <a:pt x="42" y="109"/>
                        <a:pt x="39" y="112"/>
                        <a:pt x="34" y="112"/>
                      </a:cubicBezTo>
                      <a:cubicBezTo>
                        <a:pt x="30" y="112"/>
                        <a:pt x="27" y="109"/>
                        <a:pt x="27" y="105"/>
                      </a:cubicBezTo>
                      <a:cubicBezTo>
                        <a:pt x="27" y="100"/>
                        <a:pt x="30" y="97"/>
                        <a:pt x="34" y="97"/>
                      </a:cubicBezTo>
                      <a:cubicBezTo>
                        <a:pt x="39" y="97"/>
                        <a:pt x="42" y="100"/>
                        <a:pt x="42" y="105"/>
                      </a:cubicBezTo>
                      <a:close/>
                      <a:moveTo>
                        <a:pt x="85" y="105"/>
                      </a:moveTo>
                      <a:cubicBezTo>
                        <a:pt x="85" y="109"/>
                        <a:pt x="82" y="112"/>
                        <a:pt x="77" y="112"/>
                      </a:cubicBezTo>
                      <a:cubicBezTo>
                        <a:pt x="73" y="112"/>
                        <a:pt x="69" y="109"/>
                        <a:pt x="69" y="105"/>
                      </a:cubicBezTo>
                      <a:cubicBezTo>
                        <a:pt x="69" y="100"/>
                        <a:pt x="73" y="97"/>
                        <a:pt x="77" y="97"/>
                      </a:cubicBezTo>
                      <a:cubicBezTo>
                        <a:pt x="82" y="97"/>
                        <a:pt x="85" y="100"/>
                        <a:pt x="85" y="105"/>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8" name="Freeform 199"/>
                <p:cNvSpPr>
                  <a:spLocks noEditPoints="1"/>
                </p:cNvSpPr>
                <p:nvPr/>
              </p:nvSpPr>
              <p:spPr bwMode="auto">
                <a:xfrm rot="5400000">
                  <a:off x="11948084" y="817760"/>
                  <a:ext cx="171729" cy="169023"/>
                </a:xfrm>
                <a:custGeom>
                  <a:avLst/>
                  <a:gdLst>
                    <a:gd name="T0" fmla="*/ 132 w 156"/>
                    <a:gd name="T1" fmla="*/ 15 h 148"/>
                    <a:gd name="T2" fmla="*/ 78 w 156"/>
                    <a:gd name="T3" fmla="*/ 0 h 148"/>
                    <a:gd name="T4" fmla="*/ 24 w 156"/>
                    <a:gd name="T5" fmla="*/ 15 h 148"/>
                    <a:gd name="T6" fmla="*/ 0 w 156"/>
                    <a:gd name="T7" fmla="*/ 55 h 148"/>
                    <a:gd name="T8" fmla="*/ 25 w 156"/>
                    <a:gd name="T9" fmla="*/ 96 h 148"/>
                    <a:gd name="T10" fmla="*/ 20 w 156"/>
                    <a:gd name="T11" fmla="*/ 121 h 148"/>
                    <a:gd name="T12" fmla="*/ 16 w 156"/>
                    <a:gd name="T13" fmla="*/ 142 h 148"/>
                    <a:gd name="T14" fmla="*/ 15 w 156"/>
                    <a:gd name="T15" fmla="*/ 148 h 148"/>
                    <a:gd name="T16" fmla="*/ 19 w 156"/>
                    <a:gd name="T17" fmla="*/ 143 h 148"/>
                    <a:gd name="T18" fmla="*/ 33 w 156"/>
                    <a:gd name="T19" fmla="*/ 127 h 148"/>
                    <a:gd name="T20" fmla="*/ 53 w 156"/>
                    <a:gd name="T21" fmla="*/ 107 h 148"/>
                    <a:gd name="T22" fmla="*/ 78 w 156"/>
                    <a:gd name="T23" fmla="*/ 110 h 148"/>
                    <a:gd name="T24" fmla="*/ 132 w 156"/>
                    <a:gd name="T25" fmla="*/ 94 h 148"/>
                    <a:gd name="T26" fmla="*/ 156 w 156"/>
                    <a:gd name="T27" fmla="*/ 55 h 148"/>
                    <a:gd name="T28" fmla="*/ 132 w 156"/>
                    <a:gd name="T29" fmla="*/ 15 h 148"/>
                    <a:gd name="T30" fmla="*/ 36 w 156"/>
                    <a:gd name="T31" fmla="*/ 92 h 148"/>
                    <a:gd name="T32" fmla="*/ 36 w 156"/>
                    <a:gd name="T33" fmla="*/ 91 h 148"/>
                    <a:gd name="T34" fmla="*/ 35 w 156"/>
                    <a:gd name="T35" fmla="*/ 91 h 148"/>
                    <a:gd name="T36" fmla="*/ 9 w 156"/>
                    <a:gd name="T37" fmla="*/ 55 h 148"/>
                    <a:gd name="T38" fmla="*/ 78 w 156"/>
                    <a:gd name="T39" fmla="*/ 10 h 148"/>
                    <a:gd name="T40" fmla="*/ 147 w 156"/>
                    <a:gd name="T41" fmla="*/ 55 h 148"/>
                    <a:gd name="T42" fmla="*/ 78 w 156"/>
                    <a:gd name="T43" fmla="*/ 100 h 148"/>
                    <a:gd name="T44" fmla="*/ 51 w 156"/>
                    <a:gd name="T45" fmla="*/ 97 h 148"/>
                    <a:gd name="T46" fmla="*/ 50 w 156"/>
                    <a:gd name="T47" fmla="*/ 96 h 148"/>
                    <a:gd name="T48" fmla="*/ 49 w 156"/>
                    <a:gd name="T49" fmla="*/ 97 h 148"/>
                    <a:gd name="T50" fmla="*/ 30 w 156"/>
                    <a:gd name="T51" fmla="*/ 118 h 148"/>
                    <a:gd name="T52" fmla="*/ 36 w 156"/>
                    <a:gd name="T53" fmla="*/ 92 h 148"/>
                    <a:gd name="T54" fmla="*/ 36 w 156"/>
                    <a:gd name="T55" fmla="*/ 9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6" h="148">
                      <a:moveTo>
                        <a:pt x="132" y="15"/>
                      </a:moveTo>
                      <a:cubicBezTo>
                        <a:pt x="118" y="5"/>
                        <a:pt x="98" y="0"/>
                        <a:pt x="78" y="0"/>
                      </a:cubicBezTo>
                      <a:cubicBezTo>
                        <a:pt x="57" y="0"/>
                        <a:pt x="38" y="5"/>
                        <a:pt x="24" y="15"/>
                      </a:cubicBezTo>
                      <a:cubicBezTo>
                        <a:pt x="8" y="26"/>
                        <a:pt x="0" y="40"/>
                        <a:pt x="0" y="55"/>
                      </a:cubicBezTo>
                      <a:cubicBezTo>
                        <a:pt x="0" y="70"/>
                        <a:pt x="9" y="85"/>
                        <a:pt x="25" y="96"/>
                      </a:cubicBezTo>
                      <a:cubicBezTo>
                        <a:pt x="20" y="121"/>
                        <a:pt x="20" y="121"/>
                        <a:pt x="20" y="121"/>
                      </a:cubicBezTo>
                      <a:cubicBezTo>
                        <a:pt x="16" y="142"/>
                        <a:pt x="16" y="142"/>
                        <a:pt x="16" y="142"/>
                      </a:cubicBezTo>
                      <a:cubicBezTo>
                        <a:pt x="15" y="148"/>
                        <a:pt x="15" y="148"/>
                        <a:pt x="15" y="148"/>
                      </a:cubicBezTo>
                      <a:cubicBezTo>
                        <a:pt x="19" y="143"/>
                        <a:pt x="19" y="143"/>
                        <a:pt x="19" y="143"/>
                      </a:cubicBezTo>
                      <a:cubicBezTo>
                        <a:pt x="33" y="127"/>
                        <a:pt x="33" y="127"/>
                        <a:pt x="33" y="127"/>
                      </a:cubicBezTo>
                      <a:cubicBezTo>
                        <a:pt x="53" y="107"/>
                        <a:pt x="53" y="107"/>
                        <a:pt x="53" y="107"/>
                      </a:cubicBezTo>
                      <a:cubicBezTo>
                        <a:pt x="61" y="108"/>
                        <a:pt x="69" y="110"/>
                        <a:pt x="78" y="110"/>
                      </a:cubicBezTo>
                      <a:cubicBezTo>
                        <a:pt x="98" y="110"/>
                        <a:pt x="118" y="104"/>
                        <a:pt x="132" y="94"/>
                      </a:cubicBezTo>
                      <a:cubicBezTo>
                        <a:pt x="148" y="84"/>
                        <a:pt x="156" y="70"/>
                        <a:pt x="156" y="55"/>
                      </a:cubicBezTo>
                      <a:cubicBezTo>
                        <a:pt x="156" y="40"/>
                        <a:pt x="148" y="26"/>
                        <a:pt x="132" y="15"/>
                      </a:cubicBezTo>
                      <a:close/>
                      <a:moveTo>
                        <a:pt x="36" y="92"/>
                      </a:moveTo>
                      <a:cubicBezTo>
                        <a:pt x="36" y="91"/>
                        <a:pt x="36" y="91"/>
                        <a:pt x="36" y="91"/>
                      </a:cubicBezTo>
                      <a:cubicBezTo>
                        <a:pt x="35" y="91"/>
                        <a:pt x="35" y="91"/>
                        <a:pt x="35" y="91"/>
                      </a:cubicBezTo>
                      <a:cubicBezTo>
                        <a:pt x="18" y="81"/>
                        <a:pt x="9" y="69"/>
                        <a:pt x="9" y="55"/>
                      </a:cubicBezTo>
                      <a:cubicBezTo>
                        <a:pt x="9" y="30"/>
                        <a:pt x="40" y="10"/>
                        <a:pt x="78" y="10"/>
                      </a:cubicBezTo>
                      <a:cubicBezTo>
                        <a:pt x="116" y="10"/>
                        <a:pt x="147" y="30"/>
                        <a:pt x="147" y="55"/>
                      </a:cubicBezTo>
                      <a:cubicBezTo>
                        <a:pt x="147" y="80"/>
                        <a:pt x="116" y="100"/>
                        <a:pt x="78" y="100"/>
                      </a:cubicBezTo>
                      <a:cubicBezTo>
                        <a:pt x="68" y="100"/>
                        <a:pt x="59" y="99"/>
                        <a:pt x="51" y="97"/>
                      </a:cubicBezTo>
                      <a:cubicBezTo>
                        <a:pt x="50" y="96"/>
                        <a:pt x="50" y="96"/>
                        <a:pt x="50" y="96"/>
                      </a:cubicBezTo>
                      <a:cubicBezTo>
                        <a:pt x="49" y="97"/>
                        <a:pt x="49" y="97"/>
                        <a:pt x="49" y="97"/>
                      </a:cubicBezTo>
                      <a:cubicBezTo>
                        <a:pt x="30" y="118"/>
                        <a:pt x="30" y="118"/>
                        <a:pt x="30" y="118"/>
                      </a:cubicBezTo>
                      <a:cubicBezTo>
                        <a:pt x="36" y="92"/>
                        <a:pt x="36" y="92"/>
                        <a:pt x="36" y="92"/>
                      </a:cubicBezTo>
                      <a:cubicBezTo>
                        <a:pt x="36" y="92"/>
                        <a:pt x="36" y="92"/>
                        <a:pt x="36" y="92"/>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9" name="Freeform 200"/>
                <p:cNvSpPr>
                  <a:spLocks/>
                </p:cNvSpPr>
                <p:nvPr/>
              </p:nvSpPr>
              <p:spPr bwMode="auto">
                <a:xfrm rot="5400000">
                  <a:off x="11921028" y="929604"/>
                  <a:ext cx="136801" cy="140349"/>
                </a:xfrm>
                <a:custGeom>
                  <a:avLst/>
                  <a:gdLst>
                    <a:gd name="T0" fmla="*/ 124 w 124"/>
                    <a:gd name="T1" fmla="*/ 45 h 123"/>
                    <a:gd name="T2" fmla="*/ 104 w 124"/>
                    <a:gd name="T3" fmla="*/ 12 h 123"/>
                    <a:gd name="T4" fmla="*/ 60 w 124"/>
                    <a:gd name="T5" fmla="*/ 0 h 123"/>
                    <a:gd name="T6" fmla="*/ 58 w 124"/>
                    <a:gd name="T7" fmla="*/ 0 h 123"/>
                    <a:gd name="T8" fmla="*/ 58 w 124"/>
                    <a:gd name="T9" fmla="*/ 2 h 123"/>
                    <a:gd name="T10" fmla="*/ 58 w 124"/>
                    <a:gd name="T11" fmla="*/ 7 h 123"/>
                    <a:gd name="T12" fmla="*/ 58 w 124"/>
                    <a:gd name="T13" fmla="*/ 8 h 123"/>
                    <a:gd name="T14" fmla="*/ 60 w 124"/>
                    <a:gd name="T15" fmla="*/ 8 h 123"/>
                    <a:gd name="T16" fmla="*/ 116 w 124"/>
                    <a:gd name="T17" fmla="*/ 45 h 123"/>
                    <a:gd name="T18" fmla="*/ 95 w 124"/>
                    <a:gd name="T19" fmla="*/ 74 h 123"/>
                    <a:gd name="T20" fmla="*/ 93 w 124"/>
                    <a:gd name="T21" fmla="*/ 75 h 123"/>
                    <a:gd name="T22" fmla="*/ 93 w 124"/>
                    <a:gd name="T23" fmla="*/ 76 h 123"/>
                    <a:gd name="T24" fmla="*/ 98 w 124"/>
                    <a:gd name="T25" fmla="*/ 97 h 123"/>
                    <a:gd name="T26" fmla="*/ 83 w 124"/>
                    <a:gd name="T27" fmla="*/ 80 h 123"/>
                    <a:gd name="T28" fmla="*/ 82 w 124"/>
                    <a:gd name="T29" fmla="*/ 79 h 123"/>
                    <a:gd name="T30" fmla="*/ 81 w 124"/>
                    <a:gd name="T31" fmla="*/ 80 h 123"/>
                    <a:gd name="T32" fmla="*/ 59 w 124"/>
                    <a:gd name="T33" fmla="*/ 82 h 123"/>
                    <a:gd name="T34" fmla="*/ 9 w 124"/>
                    <a:gd name="T35" fmla="*/ 63 h 123"/>
                    <a:gd name="T36" fmla="*/ 8 w 124"/>
                    <a:gd name="T37" fmla="*/ 61 h 123"/>
                    <a:gd name="T38" fmla="*/ 7 w 124"/>
                    <a:gd name="T39" fmla="*/ 62 h 123"/>
                    <a:gd name="T40" fmla="*/ 2 w 124"/>
                    <a:gd name="T41" fmla="*/ 63 h 123"/>
                    <a:gd name="T42" fmla="*/ 0 w 124"/>
                    <a:gd name="T43" fmla="*/ 64 h 123"/>
                    <a:gd name="T44" fmla="*/ 1 w 124"/>
                    <a:gd name="T45" fmla="*/ 66 h 123"/>
                    <a:gd name="T46" fmla="*/ 14 w 124"/>
                    <a:gd name="T47" fmla="*/ 78 h 123"/>
                    <a:gd name="T48" fmla="*/ 59 w 124"/>
                    <a:gd name="T49" fmla="*/ 91 h 123"/>
                    <a:gd name="T50" fmla="*/ 79 w 124"/>
                    <a:gd name="T51" fmla="*/ 89 h 123"/>
                    <a:gd name="T52" fmla="*/ 95 w 124"/>
                    <a:gd name="T53" fmla="*/ 106 h 123"/>
                    <a:gd name="T54" fmla="*/ 107 w 124"/>
                    <a:gd name="T55" fmla="*/ 119 h 123"/>
                    <a:gd name="T56" fmla="*/ 111 w 124"/>
                    <a:gd name="T57" fmla="*/ 123 h 123"/>
                    <a:gd name="T58" fmla="*/ 110 w 124"/>
                    <a:gd name="T59" fmla="*/ 118 h 123"/>
                    <a:gd name="T60" fmla="*/ 107 w 124"/>
                    <a:gd name="T61" fmla="*/ 100 h 123"/>
                    <a:gd name="T62" fmla="*/ 103 w 124"/>
                    <a:gd name="T63" fmla="*/ 79 h 123"/>
                    <a:gd name="T64" fmla="*/ 124 w 124"/>
                    <a:gd name="T65" fmla="*/ 4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23">
                      <a:moveTo>
                        <a:pt x="124" y="45"/>
                      </a:moveTo>
                      <a:cubicBezTo>
                        <a:pt x="124" y="32"/>
                        <a:pt x="117" y="21"/>
                        <a:pt x="104" y="12"/>
                      </a:cubicBezTo>
                      <a:cubicBezTo>
                        <a:pt x="92" y="4"/>
                        <a:pt x="76" y="0"/>
                        <a:pt x="60" y="0"/>
                      </a:cubicBezTo>
                      <a:cubicBezTo>
                        <a:pt x="58" y="0"/>
                        <a:pt x="58" y="0"/>
                        <a:pt x="58" y="0"/>
                      </a:cubicBezTo>
                      <a:cubicBezTo>
                        <a:pt x="58" y="2"/>
                        <a:pt x="58" y="2"/>
                        <a:pt x="58" y="2"/>
                      </a:cubicBezTo>
                      <a:cubicBezTo>
                        <a:pt x="58" y="3"/>
                        <a:pt x="58" y="5"/>
                        <a:pt x="58" y="7"/>
                      </a:cubicBezTo>
                      <a:cubicBezTo>
                        <a:pt x="58" y="8"/>
                        <a:pt x="58" y="8"/>
                        <a:pt x="58" y="8"/>
                      </a:cubicBezTo>
                      <a:cubicBezTo>
                        <a:pt x="60" y="8"/>
                        <a:pt x="60" y="8"/>
                        <a:pt x="60" y="8"/>
                      </a:cubicBezTo>
                      <a:cubicBezTo>
                        <a:pt x="91" y="8"/>
                        <a:pt x="116" y="25"/>
                        <a:pt x="116" y="45"/>
                      </a:cubicBezTo>
                      <a:cubicBezTo>
                        <a:pt x="116" y="57"/>
                        <a:pt x="108" y="68"/>
                        <a:pt x="95" y="74"/>
                      </a:cubicBezTo>
                      <a:cubicBezTo>
                        <a:pt x="93" y="75"/>
                        <a:pt x="93" y="75"/>
                        <a:pt x="93" y="75"/>
                      </a:cubicBezTo>
                      <a:cubicBezTo>
                        <a:pt x="93" y="76"/>
                        <a:pt x="93" y="76"/>
                        <a:pt x="93" y="76"/>
                      </a:cubicBezTo>
                      <a:cubicBezTo>
                        <a:pt x="98" y="97"/>
                        <a:pt x="98" y="97"/>
                        <a:pt x="98" y="97"/>
                      </a:cubicBezTo>
                      <a:cubicBezTo>
                        <a:pt x="83" y="80"/>
                        <a:pt x="83" y="80"/>
                        <a:pt x="83" y="80"/>
                      </a:cubicBezTo>
                      <a:cubicBezTo>
                        <a:pt x="82" y="79"/>
                        <a:pt x="82" y="79"/>
                        <a:pt x="82" y="79"/>
                      </a:cubicBezTo>
                      <a:cubicBezTo>
                        <a:pt x="81" y="80"/>
                        <a:pt x="81" y="80"/>
                        <a:pt x="81" y="80"/>
                      </a:cubicBezTo>
                      <a:cubicBezTo>
                        <a:pt x="74" y="82"/>
                        <a:pt x="66" y="82"/>
                        <a:pt x="59" y="82"/>
                      </a:cubicBezTo>
                      <a:cubicBezTo>
                        <a:pt x="38" y="82"/>
                        <a:pt x="19" y="75"/>
                        <a:pt x="9" y="63"/>
                      </a:cubicBezTo>
                      <a:cubicBezTo>
                        <a:pt x="8" y="61"/>
                        <a:pt x="8" y="61"/>
                        <a:pt x="8" y="61"/>
                      </a:cubicBezTo>
                      <a:cubicBezTo>
                        <a:pt x="7" y="62"/>
                        <a:pt x="7" y="62"/>
                        <a:pt x="7" y="62"/>
                      </a:cubicBezTo>
                      <a:cubicBezTo>
                        <a:pt x="6" y="63"/>
                        <a:pt x="4" y="63"/>
                        <a:pt x="2" y="63"/>
                      </a:cubicBezTo>
                      <a:cubicBezTo>
                        <a:pt x="0" y="64"/>
                        <a:pt x="0" y="64"/>
                        <a:pt x="0" y="64"/>
                      </a:cubicBezTo>
                      <a:cubicBezTo>
                        <a:pt x="1" y="66"/>
                        <a:pt x="1" y="66"/>
                        <a:pt x="1" y="66"/>
                      </a:cubicBezTo>
                      <a:cubicBezTo>
                        <a:pt x="5" y="71"/>
                        <a:pt x="9" y="74"/>
                        <a:pt x="14" y="78"/>
                      </a:cubicBezTo>
                      <a:cubicBezTo>
                        <a:pt x="27" y="87"/>
                        <a:pt x="43" y="91"/>
                        <a:pt x="59" y="91"/>
                      </a:cubicBezTo>
                      <a:cubicBezTo>
                        <a:pt x="66" y="91"/>
                        <a:pt x="73" y="90"/>
                        <a:pt x="79" y="89"/>
                      </a:cubicBezTo>
                      <a:cubicBezTo>
                        <a:pt x="95" y="106"/>
                        <a:pt x="95" y="106"/>
                        <a:pt x="95" y="106"/>
                      </a:cubicBezTo>
                      <a:cubicBezTo>
                        <a:pt x="107" y="119"/>
                        <a:pt x="107" y="119"/>
                        <a:pt x="107" y="119"/>
                      </a:cubicBezTo>
                      <a:cubicBezTo>
                        <a:pt x="111" y="123"/>
                        <a:pt x="111" y="123"/>
                        <a:pt x="111" y="123"/>
                      </a:cubicBezTo>
                      <a:cubicBezTo>
                        <a:pt x="110" y="118"/>
                        <a:pt x="110" y="118"/>
                        <a:pt x="110" y="118"/>
                      </a:cubicBezTo>
                      <a:cubicBezTo>
                        <a:pt x="107" y="100"/>
                        <a:pt x="107" y="100"/>
                        <a:pt x="107" y="100"/>
                      </a:cubicBezTo>
                      <a:cubicBezTo>
                        <a:pt x="103" y="79"/>
                        <a:pt x="103" y="79"/>
                        <a:pt x="103" y="79"/>
                      </a:cubicBezTo>
                      <a:cubicBezTo>
                        <a:pt x="116" y="71"/>
                        <a:pt x="124" y="58"/>
                        <a:pt x="124" y="45"/>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10" name="Group 609"/>
                <p:cNvGrpSpPr/>
                <p:nvPr/>
              </p:nvGrpSpPr>
              <p:grpSpPr>
                <a:xfrm rot="16200000">
                  <a:off x="11187929" y="138102"/>
                  <a:ext cx="129784" cy="222667"/>
                  <a:chOff x="11193360" y="90196"/>
                  <a:chExt cx="129784" cy="222667"/>
                </a:xfrm>
              </p:grpSpPr>
              <p:sp>
                <p:nvSpPr>
                  <p:cNvPr id="671" name="Freeform 201"/>
                  <p:cNvSpPr>
                    <a:spLocks/>
                  </p:cNvSpPr>
                  <p:nvPr/>
                </p:nvSpPr>
                <p:spPr bwMode="auto">
                  <a:xfrm rot="5400000">
                    <a:off x="11176293" y="164556"/>
                    <a:ext cx="219755" cy="73947"/>
                  </a:xfrm>
                  <a:custGeom>
                    <a:avLst/>
                    <a:gdLst>
                      <a:gd name="T0" fmla="*/ 100 w 201"/>
                      <a:gd name="T1" fmla="*/ 65 h 65"/>
                      <a:gd name="T2" fmla="*/ 107 w 201"/>
                      <a:gd name="T3" fmla="*/ 63 h 65"/>
                      <a:gd name="T4" fmla="*/ 107 w 201"/>
                      <a:gd name="T5" fmla="*/ 63 h 65"/>
                      <a:gd name="T6" fmla="*/ 201 w 201"/>
                      <a:gd name="T7" fmla="*/ 7 h 65"/>
                      <a:gd name="T8" fmla="*/ 189 w 201"/>
                      <a:gd name="T9" fmla="*/ 0 h 65"/>
                      <a:gd name="T10" fmla="*/ 11 w 201"/>
                      <a:gd name="T11" fmla="*/ 0 h 65"/>
                      <a:gd name="T12" fmla="*/ 0 w 201"/>
                      <a:gd name="T13" fmla="*/ 7 h 65"/>
                      <a:gd name="T14" fmla="*/ 93 w 201"/>
                      <a:gd name="T15" fmla="*/ 63 h 65"/>
                      <a:gd name="T16" fmla="*/ 100 w 201"/>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65">
                        <a:moveTo>
                          <a:pt x="100" y="65"/>
                        </a:moveTo>
                        <a:cubicBezTo>
                          <a:pt x="103" y="65"/>
                          <a:pt x="105" y="64"/>
                          <a:pt x="107" y="63"/>
                        </a:cubicBezTo>
                        <a:cubicBezTo>
                          <a:pt x="107" y="63"/>
                          <a:pt x="107" y="63"/>
                          <a:pt x="107" y="63"/>
                        </a:cubicBezTo>
                        <a:cubicBezTo>
                          <a:pt x="201" y="7"/>
                          <a:pt x="201" y="7"/>
                          <a:pt x="201" y="7"/>
                        </a:cubicBezTo>
                        <a:cubicBezTo>
                          <a:pt x="199" y="3"/>
                          <a:pt x="194" y="0"/>
                          <a:pt x="189" y="0"/>
                        </a:cubicBezTo>
                        <a:cubicBezTo>
                          <a:pt x="11" y="0"/>
                          <a:pt x="11" y="0"/>
                          <a:pt x="11" y="0"/>
                        </a:cubicBezTo>
                        <a:cubicBezTo>
                          <a:pt x="6" y="0"/>
                          <a:pt x="2" y="3"/>
                          <a:pt x="0" y="7"/>
                        </a:cubicBezTo>
                        <a:cubicBezTo>
                          <a:pt x="93" y="63"/>
                          <a:pt x="93" y="63"/>
                          <a:pt x="93" y="63"/>
                        </a:cubicBezTo>
                        <a:cubicBezTo>
                          <a:pt x="95" y="64"/>
                          <a:pt x="98" y="65"/>
                          <a:pt x="100" y="65"/>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72" name="Freeform 202"/>
                  <p:cNvSpPr>
                    <a:spLocks/>
                  </p:cNvSpPr>
                  <p:nvPr/>
                </p:nvSpPr>
                <p:spPr bwMode="auto">
                  <a:xfrm rot="5400000">
                    <a:off x="11233754" y="243090"/>
                    <a:ext cx="62580" cy="76966"/>
                  </a:xfrm>
                  <a:custGeom>
                    <a:avLst/>
                    <a:gdLst>
                      <a:gd name="T0" fmla="*/ 43 w 43"/>
                      <a:gd name="T1" fmla="*/ 51 h 51"/>
                      <a:gd name="T2" fmla="*/ 43 w 43"/>
                      <a:gd name="T3" fmla="*/ 0 h 51"/>
                      <a:gd name="T4" fmla="*/ 0 w 43"/>
                      <a:gd name="T5" fmla="*/ 25 h 51"/>
                      <a:gd name="T6" fmla="*/ 43 w 43"/>
                      <a:gd name="T7" fmla="*/ 51 h 51"/>
                      <a:gd name="T8" fmla="*/ 43 w 43"/>
                      <a:gd name="T9" fmla="*/ 51 h 51"/>
                      <a:gd name="T10" fmla="*/ 43 w 43"/>
                      <a:gd name="T11" fmla="*/ 51 h 51"/>
                    </a:gdLst>
                    <a:ahLst/>
                    <a:cxnLst>
                      <a:cxn ang="0">
                        <a:pos x="T0" y="T1"/>
                      </a:cxn>
                      <a:cxn ang="0">
                        <a:pos x="T2" y="T3"/>
                      </a:cxn>
                      <a:cxn ang="0">
                        <a:pos x="T4" y="T5"/>
                      </a:cxn>
                      <a:cxn ang="0">
                        <a:pos x="T6" y="T7"/>
                      </a:cxn>
                      <a:cxn ang="0">
                        <a:pos x="T8" y="T9"/>
                      </a:cxn>
                      <a:cxn ang="0">
                        <a:pos x="T10" y="T11"/>
                      </a:cxn>
                    </a:cxnLst>
                    <a:rect l="0" t="0" r="r" b="b"/>
                    <a:pathLst>
                      <a:path w="43" h="51">
                        <a:moveTo>
                          <a:pt x="43" y="51"/>
                        </a:moveTo>
                        <a:lnTo>
                          <a:pt x="43" y="0"/>
                        </a:lnTo>
                        <a:lnTo>
                          <a:pt x="0" y="25"/>
                        </a:lnTo>
                        <a:lnTo>
                          <a:pt x="43" y="51"/>
                        </a:lnTo>
                        <a:lnTo>
                          <a:pt x="43" y="51"/>
                        </a:lnTo>
                        <a:lnTo>
                          <a:pt x="43" y="51"/>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73" name="Freeform 203"/>
                  <p:cNvSpPr>
                    <a:spLocks/>
                  </p:cNvSpPr>
                  <p:nvPr/>
                </p:nvSpPr>
                <p:spPr bwMode="auto">
                  <a:xfrm rot="5400000">
                    <a:off x="11114473" y="169083"/>
                    <a:ext cx="222666" cy="64892"/>
                  </a:xfrm>
                  <a:custGeom>
                    <a:avLst/>
                    <a:gdLst>
                      <a:gd name="T0" fmla="*/ 0 w 203"/>
                      <a:gd name="T1" fmla="*/ 46 h 58"/>
                      <a:gd name="T2" fmla="*/ 12 w 203"/>
                      <a:gd name="T3" fmla="*/ 58 h 58"/>
                      <a:gd name="T4" fmla="*/ 190 w 203"/>
                      <a:gd name="T5" fmla="*/ 58 h 58"/>
                      <a:gd name="T6" fmla="*/ 203 w 203"/>
                      <a:gd name="T7" fmla="*/ 46 h 58"/>
                      <a:gd name="T8" fmla="*/ 203 w 203"/>
                      <a:gd name="T9" fmla="*/ 39 h 58"/>
                      <a:gd name="T10" fmla="*/ 137 w 203"/>
                      <a:gd name="T11" fmla="*/ 0 h 58"/>
                      <a:gd name="T12" fmla="*/ 113 w 203"/>
                      <a:gd name="T13" fmla="*/ 14 h 58"/>
                      <a:gd name="T14" fmla="*/ 101 w 203"/>
                      <a:gd name="T15" fmla="*/ 17 h 58"/>
                      <a:gd name="T16" fmla="*/ 101 w 203"/>
                      <a:gd name="T17" fmla="*/ 17 h 58"/>
                      <a:gd name="T18" fmla="*/ 89 w 203"/>
                      <a:gd name="T19" fmla="*/ 14 h 58"/>
                      <a:gd name="T20" fmla="*/ 65 w 203"/>
                      <a:gd name="T21" fmla="*/ 0 h 58"/>
                      <a:gd name="T22" fmla="*/ 0 w 203"/>
                      <a:gd name="T23" fmla="*/ 39 h 58"/>
                      <a:gd name="T24" fmla="*/ 0 w 203"/>
                      <a:gd name="T25" fmla="*/ 46 h 58"/>
                      <a:gd name="T26" fmla="*/ 0 w 203"/>
                      <a:gd name="T27" fmla="*/ 4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58">
                        <a:moveTo>
                          <a:pt x="0" y="46"/>
                        </a:moveTo>
                        <a:cubicBezTo>
                          <a:pt x="0" y="53"/>
                          <a:pt x="5" y="58"/>
                          <a:pt x="12" y="58"/>
                        </a:cubicBezTo>
                        <a:cubicBezTo>
                          <a:pt x="190" y="58"/>
                          <a:pt x="190" y="58"/>
                          <a:pt x="190" y="58"/>
                        </a:cubicBezTo>
                        <a:cubicBezTo>
                          <a:pt x="197" y="58"/>
                          <a:pt x="203" y="53"/>
                          <a:pt x="203" y="46"/>
                        </a:cubicBezTo>
                        <a:cubicBezTo>
                          <a:pt x="203" y="39"/>
                          <a:pt x="203" y="39"/>
                          <a:pt x="203" y="39"/>
                        </a:cubicBezTo>
                        <a:cubicBezTo>
                          <a:pt x="137" y="0"/>
                          <a:pt x="137" y="0"/>
                          <a:pt x="137" y="0"/>
                        </a:cubicBezTo>
                        <a:cubicBezTo>
                          <a:pt x="113" y="14"/>
                          <a:pt x="113" y="14"/>
                          <a:pt x="113" y="14"/>
                        </a:cubicBezTo>
                        <a:cubicBezTo>
                          <a:pt x="110" y="16"/>
                          <a:pt x="106" y="17"/>
                          <a:pt x="101" y="17"/>
                        </a:cubicBezTo>
                        <a:cubicBezTo>
                          <a:pt x="101" y="17"/>
                          <a:pt x="101" y="17"/>
                          <a:pt x="101" y="17"/>
                        </a:cubicBezTo>
                        <a:cubicBezTo>
                          <a:pt x="97" y="17"/>
                          <a:pt x="93" y="16"/>
                          <a:pt x="89" y="14"/>
                        </a:cubicBezTo>
                        <a:cubicBezTo>
                          <a:pt x="65" y="0"/>
                          <a:pt x="65" y="0"/>
                          <a:pt x="65" y="0"/>
                        </a:cubicBezTo>
                        <a:cubicBezTo>
                          <a:pt x="0" y="39"/>
                          <a:pt x="0" y="39"/>
                          <a:pt x="0" y="39"/>
                        </a:cubicBezTo>
                        <a:cubicBezTo>
                          <a:pt x="0" y="46"/>
                          <a:pt x="0" y="46"/>
                          <a:pt x="0" y="46"/>
                        </a:cubicBezTo>
                        <a:cubicBezTo>
                          <a:pt x="0" y="46"/>
                          <a:pt x="0" y="46"/>
                          <a:pt x="0" y="46"/>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74" name="Freeform 204"/>
                  <p:cNvSpPr>
                    <a:spLocks/>
                  </p:cNvSpPr>
                  <p:nvPr/>
                </p:nvSpPr>
                <p:spPr bwMode="auto">
                  <a:xfrm rot="5400000">
                    <a:off x="11234482" y="82276"/>
                    <a:ext cx="61124" cy="76966"/>
                  </a:xfrm>
                  <a:custGeom>
                    <a:avLst/>
                    <a:gdLst>
                      <a:gd name="T0" fmla="*/ 42 w 42"/>
                      <a:gd name="T1" fmla="*/ 25 h 51"/>
                      <a:gd name="T2" fmla="*/ 0 w 42"/>
                      <a:gd name="T3" fmla="*/ 0 h 51"/>
                      <a:gd name="T4" fmla="*/ 0 w 42"/>
                      <a:gd name="T5" fmla="*/ 51 h 51"/>
                      <a:gd name="T6" fmla="*/ 42 w 42"/>
                      <a:gd name="T7" fmla="*/ 25 h 51"/>
                      <a:gd name="T8" fmla="*/ 42 w 42"/>
                      <a:gd name="T9" fmla="*/ 25 h 51"/>
                      <a:gd name="T10" fmla="*/ 42 w 42"/>
                      <a:gd name="T11" fmla="*/ 25 h 51"/>
                    </a:gdLst>
                    <a:ahLst/>
                    <a:cxnLst>
                      <a:cxn ang="0">
                        <a:pos x="T0" y="T1"/>
                      </a:cxn>
                      <a:cxn ang="0">
                        <a:pos x="T2" y="T3"/>
                      </a:cxn>
                      <a:cxn ang="0">
                        <a:pos x="T4" y="T5"/>
                      </a:cxn>
                      <a:cxn ang="0">
                        <a:pos x="T6" y="T7"/>
                      </a:cxn>
                      <a:cxn ang="0">
                        <a:pos x="T8" y="T9"/>
                      </a:cxn>
                      <a:cxn ang="0">
                        <a:pos x="T10" y="T11"/>
                      </a:cxn>
                    </a:cxnLst>
                    <a:rect l="0" t="0" r="r" b="b"/>
                    <a:pathLst>
                      <a:path w="42" h="51">
                        <a:moveTo>
                          <a:pt x="42" y="25"/>
                        </a:moveTo>
                        <a:lnTo>
                          <a:pt x="0" y="0"/>
                        </a:lnTo>
                        <a:lnTo>
                          <a:pt x="0" y="51"/>
                        </a:lnTo>
                        <a:lnTo>
                          <a:pt x="42" y="25"/>
                        </a:lnTo>
                        <a:lnTo>
                          <a:pt x="42" y="25"/>
                        </a:lnTo>
                        <a:lnTo>
                          <a:pt x="42" y="2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sp>
              <p:nvSpPr>
                <p:cNvPr id="611" name="Freeform 205"/>
                <p:cNvSpPr>
                  <a:spLocks noEditPoints="1"/>
                </p:cNvSpPr>
                <p:nvPr/>
              </p:nvSpPr>
              <p:spPr bwMode="auto">
                <a:xfrm rot="19800000">
                  <a:off x="11189998" y="1751243"/>
                  <a:ext cx="299798" cy="230898"/>
                </a:xfrm>
                <a:custGeom>
                  <a:avLst/>
                  <a:gdLst>
                    <a:gd name="T0" fmla="*/ 232 w 273"/>
                    <a:gd name="T1" fmla="*/ 117 h 203"/>
                    <a:gd name="T2" fmla="*/ 251 w 273"/>
                    <a:gd name="T3" fmla="*/ 185 h 203"/>
                    <a:gd name="T4" fmla="*/ 32 w 273"/>
                    <a:gd name="T5" fmla="*/ 30 h 203"/>
                    <a:gd name="T6" fmla="*/ 99 w 273"/>
                    <a:gd name="T7" fmla="*/ 7 h 203"/>
                    <a:gd name="T8" fmla="*/ 56 w 273"/>
                    <a:gd name="T9" fmla="*/ 1 h 203"/>
                    <a:gd name="T10" fmla="*/ 48 w 273"/>
                    <a:gd name="T11" fmla="*/ 24 h 203"/>
                    <a:gd name="T12" fmla="*/ 0 w 273"/>
                    <a:gd name="T13" fmla="*/ 31 h 203"/>
                    <a:gd name="T14" fmla="*/ 23 w 273"/>
                    <a:gd name="T15" fmla="*/ 20 h 203"/>
                    <a:gd name="T16" fmla="*/ 172 w 273"/>
                    <a:gd name="T17" fmla="*/ 185 h 203"/>
                    <a:gd name="T18" fmla="*/ 45 w 273"/>
                    <a:gd name="T19" fmla="*/ 102 h 203"/>
                    <a:gd name="T20" fmla="*/ 83 w 273"/>
                    <a:gd name="T21" fmla="*/ 51 h 203"/>
                    <a:gd name="T22" fmla="*/ 93 w 273"/>
                    <a:gd name="T23" fmla="*/ 78 h 203"/>
                    <a:gd name="T24" fmla="*/ 99 w 273"/>
                    <a:gd name="T25" fmla="*/ 39 h 203"/>
                    <a:gd name="T26" fmla="*/ 135 w 273"/>
                    <a:gd name="T27" fmla="*/ 11 h 203"/>
                    <a:gd name="T28" fmla="*/ 206 w 273"/>
                    <a:gd name="T29" fmla="*/ 158 h 203"/>
                    <a:gd name="T30" fmla="*/ 204 w 273"/>
                    <a:gd name="T31" fmla="*/ 127 h 203"/>
                    <a:gd name="T32" fmla="*/ 163 w 273"/>
                    <a:gd name="T33" fmla="*/ 169 h 203"/>
                    <a:gd name="T34" fmla="*/ 92 w 273"/>
                    <a:gd name="T35" fmla="*/ 126 h 203"/>
                    <a:gd name="T36" fmla="*/ 92 w 273"/>
                    <a:gd name="T37" fmla="*/ 87 h 203"/>
                    <a:gd name="T38" fmla="*/ 62 w 273"/>
                    <a:gd name="T39" fmla="*/ 102 h 203"/>
                    <a:gd name="T40" fmla="*/ 107 w 273"/>
                    <a:gd name="T41" fmla="*/ 169 h 203"/>
                    <a:gd name="T42" fmla="*/ 68 w 273"/>
                    <a:gd name="T43" fmla="*/ 128 h 203"/>
                    <a:gd name="T44" fmla="*/ 107 w 273"/>
                    <a:gd name="T45" fmla="*/ 169 h 203"/>
                    <a:gd name="T46" fmla="*/ 104 w 273"/>
                    <a:gd name="T47" fmla="*/ 138 h 203"/>
                    <a:gd name="T48" fmla="*/ 131 w 273"/>
                    <a:gd name="T49" fmla="*/ 140 h 203"/>
                    <a:gd name="T50" fmla="*/ 101 w 273"/>
                    <a:gd name="T51" fmla="*/ 89 h 203"/>
                    <a:gd name="T52" fmla="*/ 103 w 273"/>
                    <a:gd name="T53" fmla="*/ 127 h 203"/>
                    <a:gd name="T54" fmla="*/ 131 w 273"/>
                    <a:gd name="T55" fmla="*/ 90 h 203"/>
                    <a:gd name="T56" fmla="*/ 123 w 273"/>
                    <a:gd name="T57" fmla="*/ 32 h 203"/>
                    <a:gd name="T58" fmla="*/ 131 w 273"/>
                    <a:gd name="T59" fmla="*/ 80 h 203"/>
                    <a:gd name="T60" fmla="*/ 206 w 273"/>
                    <a:gd name="T61" fmla="*/ 80 h 203"/>
                    <a:gd name="T62" fmla="*/ 180 w 273"/>
                    <a:gd name="T63" fmla="*/ 103 h 203"/>
                    <a:gd name="T64" fmla="*/ 208 w 273"/>
                    <a:gd name="T65" fmla="*/ 112 h 203"/>
                    <a:gd name="T66" fmla="*/ 206 w 273"/>
                    <a:gd name="T67" fmla="*/ 80 h 203"/>
                    <a:gd name="T68" fmla="*/ 179 w 273"/>
                    <a:gd name="T69" fmla="*/ 78 h 203"/>
                    <a:gd name="T70" fmla="*/ 187 w 273"/>
                    <a:gd name="T71" fmla="*/ 51 h 203"/>
                    <a:gd name="T72" fmla="*/ 141 w 273"/>
                    <a:gd name="T73" fmla="*/ 80 h 203"/>
                    <a:gd name="T74" fmla="*/ 141 w 273"/>
                    <a:gd name="T75" fmla="*/ 30 h 203"/>
                    <a:gd name="T76" fmla="*/ 141 w 273"/>
                    <a:gd name="T77" fmla="*/ 80 h 203"/>
                    <a:gd name="T78" fmla="*/ 169 w 273"/>
                    <a:gd name="T79" fmla="*/ 127 h 203"/>
                    <a:gd name="T80" fmla="*/ 170 w 273"/>
                    <a:gd name="T81" fmla="*/ 89 h 203"/>
                    <a:gd name="T82" fmla="*/ 141 w 273"/>
                    <a:gd name="T83" fmla="*/ 130 h 203"/>
                    <a:gd name="T84" fmla="*/ 166 w 273"/>
                    <a:gd name="T85" fmla="*/ 138 h 203"/>
                    <a:gd name="T86" fmla="*/ 141 w 273"/>
                    <a:gd name="T87" fmla="*/ 175 h 203"/>
                    <a:gd name="T88" fmla="*/ 225 w 273"/>
                    <a:gd name="T89" fmla="*/ 179 h 203"/>
                    <a:gd name="T90" fmla="*/ 183 w 273"/>
                    <a:gd name="T91" fmla="*/ 155 h 203"/>
                    <a:gd name="T92" fmla="*/ 193 w 273"/>
                    <a:gd name="T93" fmla="*/ 191 h 203"/>
                    <a:gd name="T94" fmla="*/ 251 w 273"/>
                    <a:gd name="T95" fmla="*/ 18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3" h="203">
                      <a:moveTo>
                        <a:pt x="251" y="185"/>
                      </a:moveTo>
                      <a:cubicBezTo>
                        <a:pt x="261" y="164"/>
                        <a:pt x="232" y="117"/>
                        <a:pt x="232" y="117"/>
                      </a:cubicBezTo>
                      <a:cubicBezTo>
                        <a:pt x="232" y="117"/>
                        <a:pt x="273" y="141"/>
                        <a:pt x="273" y="174"/>
                      </a:cubicBezTo>
                      <a:cubicBezTo>
                        <a:pt x="268" y="177"/>
                        <a:pt x="259" y="181"/>
                        <a:pt x="251" y="185"/>
                      </a:cubicBezTo>
                      <a:close/>
                      <a:moveTo>
                        <a:pt x="48" y="24"/>
                      </a:moveTo>
                      <a:cubicBezTo>
                        <a:pt x="32" y="30"/>
                        <a:pt x="32" y="30"/>
                        <a:pt x="32" y="30"/>
                      </a:cubicBezTo>
                      <a:cubicBezTo>
                        <a:pt x="92" y="48"/>
                        <a:pt x="92" y="48"/>
                        <a:pt x="92" y="48"/>
                      </a:cubicBezTo>
                      <a:cubicBezTo>
                        <a:pt x="99" y="7"/>
                        <a:pt x="99" y="7"/>
                        <a:pt x="99" y="7"/>
                      </a:cubicBezTo>
                      <a:cubicBezTo>
                        <a:pt x="82" y="13"/>
                        <a:pt x="82" y="13"/>
                        <a:pt x="82" y="13"/>
                      </a:cubicBezTo>
                      <a:cubicBezTo>
                        <a:pt x="78" y="8"/>
                        <a:pt x="66" y="0"/>
                        <a:pt x="56" y="1"/>
                      </a:cubicBezTo>
                      <a:cubicBezTo>
                        <a:pt x="51" y="3"/>
                        <a:pt x="31" y="11"/>
                        <a:pt x="23" y="15"/>
                      </a:cubicBezTo>
                      <a:cubicBezTo>
                        <a:pt x="32" y="13"/>
                        <a:pt x="44" y="21"/>
                        <a:pt x="48" y="24"/>
                      </a:cubicBezTo>
                      <a:close/>
                      <a:moveTo>
                        <a:pt x="23" y="20"/>
                      </a:moveTo>
                      <a:cubicBezTo>
                        <a:pt x="16" y="22"/>
                        <a:pt x="6" y="27"/>
                        <a:pt x="0" y="31"/>
                      </a:cubicBezTo>
                      <a:cubicBezTo>
                        <a:pt x="0" y="62"/>
                        <a:pt x="42" y="86"/>
                        <a:pt x="42" y="86"/>
                      </a:cubicBezTo>
                      <a:cubicBezTo>
                        <a:pt x="42" y="86"/>
                        <a:pt x="14" y="39"/>
                        <a:pt x="23" y="20"/>
                      </a:cubicBezTo>
                      <a:close/>
                      <a:moveTo>
                        <a:pt x="176" y="162"/>
                      </a:moveTo>
                      <a:cubicBezTo>
                        <a:pt x="172" y="185"/>
                        <a:pt x="172" y="185"/>
                        <a:pt x="172" y="185"/>
                      </a:cubicBezTo>
                      <a:cubicBezTo>
                        <a:pt x="161" y="189"/>
                        <a:pt x="148" y="192"/>
                        <a:pt x="135" y="192"/>
                      </a:cubicBezTo>
                      <a:cubicBezTo>
                        <a:pt x="85" y="192"/>
                        <a:pt x="45" y="152"/>
                        <a:pt x="45" y="102"/>
                      </a:cubicBezTo>
                      <a:cubicBezTo>
                        <a:pt x="45" y="80"/>
                        <a:pt x="54" y="61"/>
                        <a:pt x="66" y="45"/>
                      </a:cubicBezTo>
                      <a:cubicBezTo>
                        <a:pt x="83" y="51"/>
                        <a:pt x="83" y="51"/>
                        <a:pt x="83" y="51"/>
                      </a:cubicBezTo>
                      <a:cubicBezTo>
                        <a:pt x="78" y="56"/>
                        <a:pt x="73" y="63"/>
                        <a:pt x="69" y="71"/>
                      </a:cubicBezTo>
                      <a:cubicBezTo>
                        <a:pt x="72" y="73"/>
                        <a:pt x="78" y="75"/>
                        <a:pt x="93" y="78"/>
                      </a:cubicBezTo>
                      <a:cubicBezTo>
                        <a:pt x="96" y="59"/>
                        <a:pt x="100" y="45"/>
                        <a:pt x="109" y="34"/>
                      </a:cubicBezTo>
                      <a:cubicBezTo>
                        <a:pt x="106" y="35"/>
                        <a:pt x="101" y="37"/>
                        <a:pt x="99" y="39"/>
                      </a:cubicBezTo>
                      <a:cubicBezTo>
                        <a:pt x="101" y="18"/>
                        <a:pt x="101" y="18"/>
                        <a:pt x="101" y="18"/>
                      </a:cubicBezTo>
                      <a:cubicBezTo>
                        <a:pt x="113" y="14"/>
                        <a:pt x="124" y="11"/>
                        <a:pt x="135" y="11"/>
                      </a:cubicBezTo>
                      <a:cubicBezTo>
                        <a:pt x="186" y="11"/>
                        <a:pt x="225" y="52"/>
                        <a:pt x="225" y="102"/>
                      </a:cubicBezTo>
                      <a:cubicBezTo>
                        <a:pt x="225" y="123"/>
                        <a:pt x="218" y="143"/>
                        <a:pt x="206" y="158"/>
                      </a:cubicBezTo>
                      <a:cubicBezTo>
                        <a:pt x="189" y="152"/>
                        <a:pt x="189" y="152"/>
                        <a:pt x="189" y="152"/>
                      </a:cubicBezTo>
                      <a:cubicBezTo>
                        <a:pt x="196" y="145"/>
                        <a:pt x="200" y="137"/>
                        <a:pt x="204" y="127"/>
                      </a:cubicBezTo>
                      <a:cubicBezTo>
                        <a:pt x="199" y="131"/>
                        <a:pt x="187" y="134"/>
                        <a:pt x="178" y="136"/>
                      </a:cubicBezTo>
                      <a:cubicBezTo>
                        <a:pt x="175" y="150"/>
                        <a:pt x="170" y="161"/>
                        <a:pt x="163" y="169"/>
                      </a:cubicBezTo>
                      <a:cubicBezTo>
                        <a:pt x="168" y="168"/>
                        <a:pt x="172" y="165"/>
                        <a:pt x="176" y="162"/>
                      </a:cubicBezTo>
                      <a:close/>
                      <a:moveTo>
                        <a:pt x="92" y="126"/>
                      </a:moveTo>
                      <a:cubicBezTo>
                        <a:pt x="92" y="119"/>
                        <a:pt x="90" y="110"/>
                        <a:pt x="90" y="103"/>
                      </a:cubicBezTo>
                      <a:cubicBezTo>
                        <a:pt x="90" y="97"/>
                        <a:pt x="90" y="93"/>
                        <a:pt x="92" y="87"/>
                      </a:cubicBezTo>
                      <a:cubicBezTo>
                        <a:pt x="80" y="86"/>
                        <a:pt x="71" y="83"/>
                        <a:pt x="65" y="80"/>
                      </a:cubicBezTo>
                      <a:cubicBezTo>
                        <a:pt x="63" y="87"/>
                        <a:pt x="62" y="95"/>
                        <a:pt x="62" y="102"/>
                      </a:cubicBezTo>
                      <a:cubicBezTo>
                        <a:pt x="62" y="114"/>
                        <a:pt x="63" y="120"/>
                        <a:pt x="92" y="126"/>
                      </a:cubicBezTo>
                      <a:close/>
                      <a:moveTo>
                        <a:pt x="107" y="169"/>
                      </a:moveTo>
                      <a:cubicBezTo>
                        <a:pt x="101" y="161"/>
                        <a:pt x="97" y="150"/>
                        <a:pt x="94" y="137"/>
                      </a:cubicBezTo>
                      <a:cubicBezTo>
                        <a:pt x="83" y="134"/>
                        <a:pt x="75" y="131"/>
                        <a:pt x="68" y="128"/>
                      </a:cubicBezTo>
                      <a:cubicBezTo>
                        <a:pt x="71" y="138"/>
                        <a:pt x="76" y="147"/>
                        <a:pt x="83" y="154"/>
                      </a:cubicBezTo>
                      <a:cubicBezTo>
                        <a:pt x="90" y="161"/>
                        <a:pt x="99" y="167"/>
                        <a:pt x="107" y="169"/>
                      </a:cubicBezTo>
                      <a:close/>
                      <a:moveTo>
                        <a:pt x="131" y="140"/>
                      </a:moveTo>
                      <a:cubicBezTo>
                        <a:pt x="121" y="140"/>
                        <a:pt x="113" y="138"/>
                        <a:pt x="104" y="138"/>
                      </a:cubicBezTo>
                      <a:cubicBezTo>
                        <a:pt x="109" y="151"/>
                        <a:pt x="116" y="175"/>
                        <a:pt x="131" y="175"/>
                      </a:cubicBezTo>
                      <a:cubicBezTo>
                        <a:pt x="131" y="175"/>
                        <a:pt x="131" y="175"/>
                        <a:pt x="131" y="140"/>
                      </a:cubicBezTo>
                      <a:close/>
                      <a:moveTo>
                        <a:pt x="131" y="90"/>
                      </a:moveTo>
                      <a:cubicBezTo>
                        <a:pt x="120" y="90"/>
                        <a:pt x="110" y="89"/>
                        <a:pt x="101" y="89"/>
                      </a:cubicBezTo>
                      <a:cubicBezTo>
                        <a:pt x="100" y="93"/>
                        <a:pt x="100" y="97"/>
                        <a:pt x="100" y="103"/>
                      </a:cubicBezTo>
                      <a:cubicBezTo>
                        <a:pt x="100" y="112"/>
                        <a:pt x="101" y="120"/>
                        <a:pt x="103" y="127"/>
                      </a:cubicBezTo>
                      <a:cubicBezTo>
                        <a:pt x="111" y="128"/>
                        <a:pt x="121" y="130"/>
                        <a:pt x="131" y="130"/>
                      </a:cubicBezTo>
                      <a:cubicBezTo>
                        <a:pt x="131" y="130"/>
                        <a:pt x="131" y="130"/>
                        <a:pt x="131" y="90"/>
                      </a:cubicBezTo>
                      <a:close/>
                      <a:moveTo>
                        <a:pt x="131" y="30"/>
                      </a:moveTo>
                      <a:cubicBezTo>
                        <a:pt x="128" y="30"/>
                        <a:pt x="125" y="31"/>
                        <a:pt x="123" y="32"/>
                      </a:cubicBezTo>
                      <a:cubicBezTo>
                        <a:pt x="114" y="41"/>
                        <a:pt x="106" y="59"/>
                        <a:pt x="101" y="79"/>
                      </a:cubicBezTo>
                      <a:cubicBezTo>
                        <a:pt x="111" y="80"/>
                        <a:pt x="121" y="80"/>
                        <a:pt x="131" y="80"/>
                      </a:cubicBezTo>
                      <a:cubicBezTo>
                        <a:pt x="131" y="80"/>
                        <a:pt x="131" y="80"/>
                        <a:pt x="131" y="30"/>
                      </a:cubicBezTo>
                      <a:close/>
                      <a:moveTo>
                        <a:pt x="206" y="80"/>
                      </a:moveTo>
                      <a:cubicBezTo>
                        <a:pt x="200" y="83"/>
                        <a:pt x="193" y="85"/>
                        <a:pt x="180" y="87"/>
                      </a:cubicBezTo>
                      <a:cubicBezTo>
                        <a:pt x="180" y="93"/>
                        <a:pt x="180" y="97"/>
                        <a:pt x="180" y="103"/>
                      </a:cubicBezTo>
                      <a:cubicBezTo>
                        <a:pt x="180" y="110"/>
                        <a:pt x="180" y="119"/>
                        <a:pt x="179" y="126"/>
                      </a:cubicBezTo>
                      <a:cubicBezTo>
                        <a:pt x="196" y="121"/>
                        <a:pt x="204" y="116"/>
                        <a:pt x="208" y="112"/>
                      </a:cubicBezTo>
                      <a:cubicBezTo>
                        <a:pt x="208" y="109"/>
                        <a:pt x="208" y="106"/>
                        <a:pt x="208" y="102"/>
                      </a:cubicBezTo>
                      <a:cubicBezTo>
                        <a:pt x="208" y="95"/>
                        <a:pt x="207" y="87"/>
                        <a:pt x="206" y="80"/>
                      </a:cubicBezTo>
                      <a:close/>
                      <a:moveTo>
                        <a:pt x="162" y="34"/>
                      </a:moveTo>
                      <a:cubicBezTo>
                        <a:pt x="170" y="45"/>
                        <a:pt x="176" y="59"/>
                        <a:pt x="179" y="78"/>
                      </a:cubicBezTo>
                      <a:cubicBezTo>
                        <a:pt x="194" y="73"/>
                        <a:pt x="199" y="73"/>
                        <a:pt x="201" y="71"/>
                      </a:cubicBezTo>
                      <a:cubicBezTo>
                        <a:pt x="199" y="63"/>
                        <a:pt x="193" y="56"/>
                        <a:pt x="187" y="51"/>
                      </a:cubicBezTo>
                      <a:cubicBezTo>
                        <a:pt x="180" y="42"/>
                        <a:pt x="172" y="38"/>
                        <a:pt x="162" y="34"/>
                      </a:cubicBezTo>
                      <a:close/>
                      <a:moveTo>
                        <a:pt x="141" y="80"/>
                      </a:moveTo>
                      <a:cubicBezTo>
                        <a:pt x="151" y="80"/>
                        <a:pt x="159" y="80"/>
                        <a:pt x="169" y="79"/>
                      </a:cubicBezTo>
                      <a:cubicBezTo>
                        <a:pt x="165" y="54"/>
                        <a:pt x="154" y="34"/>
                        <a:pt x="141" y="30"/>
                      </a:cubicBezTo>
                      <a:cubicBezTo>
                        <a:pt x="141" y="30"/>
                        <a:pt x="141" y="30"/>
                        <a:pt x="141" y="30"/>
                      </a:cubicBezTo>
                      <a:cubicBezTo>
                        <a:pt x="141" y="30"/>
                        <a:pt x="141" y="30"/>
                        <a:pt x="141" y="80"/>
                      </a:cubicBezTo>
                      <a:close/>
                      <a:moveTo>
                        <a:pt x="141" y="130"/>
                      </a:moveTo>
                      <a:cubicBezTo>
                        <a:pt x="151" y="130"/>
                        <a:pt x="159" y="128"/>
                        <a:pt x="169" y="127"/>
                      </a:cubicBezTo>
                      <a:cubicBezTo>
                        <a:pt x="170" y="120"/>
                        <a:pt x="170" y="112"/>
                        <a:pt x="170" y="103"/>
                      </a:cubicBezTo>
                      <a:cubicBezTo>
                        <a:pt x="170" y="97"/>
                        <a:pt x="170" y="93"/>
                        <a:pt x="170" y="89"/>
                      </a:cubicBezTo>
                      <a:cubicBezTo>
                        <a:pt x="161" y="89"/>
                        <a:pt x="151" y="90"/>
                        <a:pt x="141" y="90"/>
                      </a:cubicBezTo>
                      <a:cubicBezTo>
                        <a:pt x="141" y="90"/>
                        <a:pt x="141" y="90"/>
                        <a:pt x="141" y="130"/>
                      </a:cubicBezTo>
                      <a:close/>
                      <a:moveTo>
                        <a:pt x="159" y="157"/>
                      </a:moveTo>
                      <a:cubicBezTo>
                        <a:pt x="162" y="151"/>
                        <a:pt x="165" y="145"/>
                        <a:pt x="166" y="138"/>
                      </a:cubicBezTo>
                      <a:cubicBezTo>
                        <a:pt x="158" y="138"/>
                        <a:pt x="149" y="140"/>
                        <a:pt x="141" y="140"/>
                      </a:cubicBezTo>
                      <a:cubicBezTo>
                        <a:pt x="141" y="140"/>
                        <a:pt x="141" y="140"/>
                        <a:pt x="141" y="175"/>
                      </a:cubicBezTo>
                      <a:cubicBezTo>
                        <a:pt x="148" y="175"/>
                        <a:pt x="155" y="168"/>
                        <a:pt x="159" y="157"/>
                      </a:cubicBezTo>
                      <a:close/>
                      <a:moveTo>
                        <a:pt x="225" y="179"/>
                      </a:moveTo>
                      <a:cubicBezTo>
                        <a:pt x="241" y="174"/>
                        <a:pt x="241" y="174"/>
                        <a:pt x="241" y="174"/>
                      </a:cubicBezTo>
                      <a:cubicBezTo>
                        <a:pt x="183" y="155"/>
                        <a:pt x="183" y="155"/>
                        <a:pt x="183" y="155"/>
                      </a:cubicBezTo>
                      <a:cubicBezTo>
                        <a:pt x="175" y="196"/>
                        <a:pt x="175" y="196"/>
                        <a:pt x="175" y="196"/>
                      </a:cubicBezTo>
                      <a:cubicBezTo>
                        <a:pt x="193" y="191"/>
                        <a:pt x="193" y="191"/>
                        <a:pt x="193" y="191"/>
                      </a:cubicBezTo>
                      <a:cubicBezTo>
                        <a:pt x="197" y="195"/>
                        <a:pt x="208" y="203"/>
                        <a:pt x="218" y="202"/>
                      </a:cubicBezTo>
                      <a:cubicBezTo>
                        <a:pt x="224" y="201"/>
                        <a:pt x="242" y="192"/>
                        <a:pt x="251" y="188"/>
                      </a:cubicBezTo>
                      <a:cubicBezTo>
                        <a:pt x="242" y="191"/>
                        <a:pt x="231" y="182"/>
                        <a:pt x="225" y="179"/>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12" name="Group 611"/>
                <p:cNvGrpSpPr/>
                <p:nvPr/>
              </p:nvGrpSpPr>
              <p:grpSpPr>
                <a:xfrm rot="16200000">
                  <a:off x="11538952" y="548917"/>
                  <a:ext cx="197697" cy="120792"/>
                  <a:chOff x="11543479" y="566091"/>
                  <a:chExt cx="197697" cy="120792"/>
                </a:xfrm>
              </p:grpSpPr>
              <p:sp>
                <p:nvSpPr>
                  <p:cNvPr id="667" name="Freeform 206"/>
                  <p:cNvSpPr>
                    <a:spLocks noEditPoints="1"/>
                  </p:cNvSpPr>
                  <p:nvPr/>
                </p:nvSpPr>
                <p:spPr bwMode="auto">
                  <a:xfrm rot="5400000">
                    <a:off x="11616132" y="493438"/>
                    <a:ext cx="52392" cy="197697"/>
                  </a:xfrm>
                  <a:custGeom>
                    <a:avLst/>
                    <a:gdLst>
                      <a:gd name="T0" fmla="*/ 40 w 48"/>
                      <a:gd name="T1" fmla="*/ 0 h 174"/>
                      <a:gd name="T2" fmla="*/ 7 w 48"/>
                      <a:gd name="T3" fmla="*/ 0 h 174"/>
                      <a:gd name="T4" fmla="*/ 0 w 48"/>
                      <a:gd name="T5" fmla="*/ 8 h 174"/>
                      <a:gd name="T6" fmla="*/ 0 w 48"/>
                      <a:gd name="T7" fmla="*/ 166 h 174"/>
                      <a:gd name="T8" fmla="*/ 7 w 48"/>
                      <a:gd name="T9" fmla="*/ 174 h 174"/>
                      <a:gd name="T10" fmla="*/ 40 w 48"/>
                      <a:gd name="T11" fmla="*/ 174 h 174"/>
                      <a:gd name="T12" fmla="*/ 48 w 48"/>
                      <a:gd name="T13" fmla="*/ 166 h 174"/>
                      <a:gd name="T14" fmla="*/ 48 w 48"/>
                      <a:gd name="T15" fmla="*/ 8 h 174"/>
                      <a:gd name="T16" fmla="*/ 40 w 48"/>
                      <a:gd name="T17" fmla="*/ 0 h 174"/>
                      <a:gd name="T18" fmla="*/ 11 w 48"/>
                      <a:gd name="T19" fmla="*/ 16 h 174"/>
                      <a:gd name="T20" fmla="*/ 15 w 48"/>
                      <a:gd name="T21" fmla="*/ 11 h 174"/>
                      <a:gd name="T22" fmla="*/ 32 w 48"/>
                      <a:gd name="T23" fmla="*/ 11 h 174"/>
                      <a:gd name="T24" fmla="*/ 36 w 48"/>
                      <a:gd name="T25" fmla="*/ 16 h 174"/>
                      <a:gd name="T26" fmla="*/ 36 w 48"/>
                      <a:gd name="T27" fmla="*/ 117 h 174"/>
                      <a:gd name="T28" fmla="*/ 32 w 48"/>
                      <a:gd name="T29" fmla="*/ 121 h 174"/>
                      <a:gd name="T30" fmla="*/ 15 w 48"/>
                      <a:gd name="T31" fmla="*/ 121 h 174"/>
                      <a:gd name="T32" fmla="*/ 11 w 48"/>
                      <a:gd name="T33" fmla="*/ 117 h 174"/>
                      <a:gd name="T34" fmla="*/ 11 w 48"/>
                      <a:gd name="T35" fmla="*/ 16 h 174"/>
                      <a:gd name="T36" fmla="*/ 11 w 48"/>
                      <a:gd name="T37" fmla="*/ 16 h 174"/>
                      <a:gd name="T38" fmla="*/ 23 w 48"/>
                      <a:gd name="T39" fmla="*/ 164 h 174"/>
                      <a:gd name="T40" fmla="*/ 11 w 48"/>
                      <a:gd name="T41" fmla="*/ 151 h 174"/>
                      <a:gd name="T42" fmla="*/ 23 w 48"/>
                      <a:gd name="T43" fmla="*/ 138 h 174"/>
                      <a:gd name="T44" fmla="*/ 36 w 48"/>
                      <a:gd name="T45" fmla="*/ 151 h 174"/>
                      <a:gd name="T46" fmla="*/ 23 w 48"/>
                      <a:gd name="T4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4">
                        <a:moveTo>
                          <a:pt x="40" y="0"/>
                        </a:moveTo>
                        <a:cubicBezTo>
                          <a:pt x="7" y="0"/>
                          <a:pt x="7" y="0"/>
                          <a:pt x="7" y="0"/>
                        </a:cubicBezTo>
                        <a:cubicBezTo>
                          <a:pt x="3" y="0"/>
                          <a:pt x="0" y="3"/>
                          <a:pt x="0" y="8"/>
                        </a:cubicBezTo>
                        <a:cubicBezTo>
                          <a:pt x="0" y="166"/>
                          <a:pt x="0" y="166"/>
                          <a:pt x="0" y="166"/>
                        </a:cubicBezTo>
                        <a:cubicBezTo>
                          <a:pt x="0" y="170"/>
                          <a:pt x="3" y="174"/>
                          <a:pt x="7" y="174"/>
                        </a:cubicBezTo>
                        <a:cubicBezTo>
                          <a:pt x="40" y="174"/>
                          <a:pt x="40" y="174"/>
                          <a:pt x="40" y="174"/>
                        </a:cubicBezTo>
                        <a:cubicBezTo>
                          <a:pt x="44" y="174"/>
                          <a:pt x="48" y="170"/>
                          <a:pt x="48" y="166"/>
                        </a:cubicBezTo>
                        <a:cubicBezTo>
                          <a:pt x="48" y="8"/>
                          <a:pt x="48" y="8"/>
                          <a:pt x="48" y="8"/>
                        </a:cubicBezTo>
                        <a:cubicBezTo>
                          <a:pt x="48" y="3"/>
                          <a:pt x="44" y="0"/>
                          <a:pt x="40" y="0"/>
                        </a:cubicBezTo>
                        <a:close/>
                        <a:moveTo>
                          <a:pt x="11" y="16"/>
                        </a:moveTo>
                        <a:cubicBezTo>
                          <a:pt x="11" y="13"/>
                          <a:pt x="13" y="11"/>
                          <a:pt x="15" y="11"/>
                        </a:cubicBezTo>
                        <a:cubicBezTo>
                          <a:pt x="32" y="11"/>
                          <a:pt x="32" y="11"/>
                          <a:pt x="32" y="11"/>
                        </a:cubicBezTo>
                        <a:cubicBezTo>
                          <a:pt x="34" y="11"/>
                          <a:pt x="36" y="13"/>
                          <a:pt x="36" y="16"/>
                        </a:cubicBezTo>
                        <a:cubicBezTo>
                          <a:pt x="36" y="117"/>
                          <a:pt x="36" y="117"/>
                          <a:pt x="36" y="117"/>
                        </a:cubicBezTo>
                        <a:cubicBezTo>
                          <a:pt x="36" y="119"/>
                          <a:pt x="34" y="121"/>
                          <a:pt x="32" y="121"/>
                        </a:cubicBezTo>
                        <a:cubicBezTo>
                          <a:pt x="15" y="121"/>
                          <a:pt x="15" y="121"/>
                          <a:pt x="15" y="121"/>
                        </a:cubicBezTo>
                        <a:cubicBezTo>
                          <a:pt x="13" y="121"/>
                          <a:pt x="11" y="119"/>
                          <a:pt x="11" y="117"/>
                        </a:cubicBezTo>
                        <a:cubicBezTo>
                          <a:pt x="11" y="16"/>
                          <a:pt x="11" y="16"/>
                          <a:pt x="11" y="16"/>
                        </a:cubicBezTo>
                        <a:cubicBezTo>
                          <a:pt x="11" y="16"/>
                          <a:pt x="11" y="16"/>
                          <a:pt x="11" y="16"/>
                        </a:cubicBezTo>
                        <a:close/>
                        <a:moveTo>
                          <a:pt x="23" y="164"/>
                        </a:moveTo>
                        <a:cubicBezTo>
                          <a:pt x="17" y="164"/>
                          <a:pt x="11" y="158"/>
                          <a:pt x="11" y="151"/>
                        </a:cubicBezTo>
                        <a:cubicBezTo>
                          <a:pt x="11" y="144"/>
                          <a:pt x="17" y="138"/>
                          <a:pt x="23" y="138"/>
                        </a:cubicBezTo>
                        <a:cubicBezTo>
                          <a:pt x="30" y="138"/>
                          <a:pt x="36" y="144"/>
                          <a:pt x="36" y="151"/>
                        </a:cubicBezTo>
                        <a:cubicBezTo>
                          <a:pt x="36" y="158"/>
                          <a:pt x="30" y="164"/>
                          <a:pt x="23" y="164"/>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68" name="Oval 207"/>
                  <p:cNvSpPr>
                    <a:spLocks noChangeArrowheads="1"/>
                  </p:cNvSpPr>
                  <p:nvPr/>
                </p:nvSpPr>
                <p:spPr bwMode="auto">
                  <a:xfrm rot="5400000">
                    <a:off x="11562613" y="583986"/>
                    <a:ext cx="14553" cy="16600"/>
                  </a:xfrm>
                  <a:prstGeom prst="ellipse">
                    <a:avLst/>
                  </a:pr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69" name="Freeform 208"/>
                  <p:cNvSpPr>
                    <a:spLocks noEditPoints="1"/>
                  </p:cNvSpPr>
                  <p:nvPr/>
                </p:nvSpPr>
                <p:spPr bwMode="auto">
                  <a:xfrm rot="5400000">
                    <a:off x="11616132" y="561838"/>
                    <a:ext cx="52392" cy="197697"/>
                  </a:xfrm>
                  <a:custGeom>
                    <a:avLst/>
                    <a:gdLst>
                      <a:gd name="T0" fmla="*/ 41 w 48"/>
                      <a:gd name="T1" fmla="*/ 0 h 174"/>
                      <a:gd name="T2" fmla="*/ 8 w 48"/>
                      <a:gd name="T3" fmla="*/ 0 h 174"/>
                      <a:gd name="T4" fmla="*/ 0 w 48"/>
                      <a:gd name="T5" fmla="*/ 8 h 174"/>
                      <a:gd name="T6" fmla="*/ 0 w 48"/>
                      <a:gd name="T7" fmla="*/ 166 h 174"/>
                      <a:gd name="T8" fmla="*/ 8 w 48"/>
                      <a:gd name="T9" fmla="*/ 174 h 174"/>
                      <a:gd name="T10" fmla="*/ 41 w 48"/>
                      <a:gd name="T11" fmla="*/ 174 h 174"/>
                      <a:gd name="T12" fmla="*/ 48 w 48"/>
                      <a:gd name="T13" fmla="*/ 166 h 174"/>
                      <a:gd name="T14" fmla="*/ 48 w 48"/>
                      <a:gd name="T15" fmla="*/ 8 h 174"/>
                      <a:gd name="T16" fmla="*/ 41 w 48"/>
                      <a:gd name="T17" fmla="*/ 0 h 174"/>
                      <a:gd name="T18" fmla="*/ 12 w 48"/>
                      <a:gd name="T19" fmla="*/ 16 h 174"/>
                      <a:gd name="T20" fmla="*/ 16 w 48"/>
                      <a:gd name="T21" fmla="*/ 11 h 174"/>
                      <a:gd name="T22" fmla="*/ 33 w 48"/>
                      <a:gd name="T23" fmla="*/ 11 h 174"/>
                      <a:gd name="T24" fmla="*/ 37 w 48"/>
                      <a:gd name="T25" fmla="*/ 16 h 174"/>
                      <a:gd name="T26" fmla="*/ 37 w 48"/>
                      <a:gd name="T27" fmla="*/ 117 h 174"/>
                      <a:gd name="T28" fmla="*/ 33 w 48"/>
                      <a:gd name="T29" fmla="*/ 121 h 174"/>
                      <a:gd name="T30" fmla="*/ 16 w 48"/>
                      <a:gd name="T31" fmla="*/ 121 h 174"/>
                      <a:gd name="T32" fmla="*/ 12 w 48"/>
                      <a:gd name="T33" fmla="*/ 117 h 174"/>
                      <a:gd name="T34" fmla="*/ 12 w 48"/>
                      <a:gd name="T35" fmla="*/ 16 h 174"/>
                      <a:gd name="T36" fmla="*/ 12 w 48"/>
                      <a:gd name="T37" fmla="*/ 16 h 174"/>
                      <a:gd name="T38" fmla="*/ 24 w 48"/>
                      <a:gd name="T39" fmla="*/ 164 h 174"/>
                      <a:gd name="T40" fmla="*/ 12 w 48"/>
                      <a:gd name="T41" fmla="*/ 151 h 174"/>
                      <a:gd name="T42" fmla="*/ 24 w 48"/>
                      <a:gd name="T43" fmla="*/ 138 h 174"/>
                      <a:gd name="T44" fmla="*/ 37 w 48"/>
                      <a:gd name="T45" fmla="*/ 151 h 174"/>
                      <a:gd name="T46" fmla="*/ 24 w 48"/>
                      <a:gd name="T4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4">
                        <a:moveTo>
                          <a:pt x="41" y="0"/>
                        </a:moveTo>
                        <a:cubicBezTo>
                          <a:pt x="8" y="0"/>
                          <a:pt x="8" y="0"/>
                          <a:pt x="8" y="0"/>
                        </a:cubicBezTo>
                        <a:cubicBezTo>
                          <a:pt x="4" y="0"/>
                          <a:pt x="0" y="3"/>
                          <a:pt x="0" y="8"/>
                        </a:cubicBezTo>
                        <a:cubicBezTo>
                          <a:pt x="0" y="166"/>
                          <a:pt x="0" y="166"/>
                          <a:pt x="0" y="166"/>
                        </a:cubicBezTo>
                        <a:cubicBezTo>
                          <a:pt x="0" y="170"/>
                          <a:pt x="4" y="174"/>
                          <a:pt x="8" y="174"/>
                        </a:cubicBezTo>
                        <a:cubicBezTo>
                          <a:pt x="41" y="174"/>
                          <a:pt x="41" y="174"/>
                          <a:pt x="41" y="174"/>
                        </a:cubicBezTo>
                        <a:cubicBezTo>
                          <a:pt x="45" y="174"/>
                          <a:pt x="48" y="170"/>
                          <a:pt x="48" y="166"/>
                        </a:cubicBezTo>
                        <a:cubicBezTo>
                          <a:pt x="48" y="8"/>
                          <a:pt x="48" y="8"/>
                          <a:pt x="48" y="8"/>
                        </a:cubicBezTo>
                        <a:cubicBezTo>
                          <a:pt x="48" y="3"/>
                          <a:pt x="45" y="0"/>
                          <a:pt x="41" y="0"/>
                        </a:cubicBezTo>
                        <a:close/>
                        <a:moveTo>
                          <a:pt x="12" y="16"/>
                        </a:moveTo>
                        <a:cubicBezTo>
                          <a:pt x="12" y="13"/>
                          <a:pt x="14" y="11"/>
                          <a:pt x="16" y="11"/>
                        </a:cubicBezTo>
                        <a:cubicBezTo>
                          <a:pt x="33" y="11"/>
                          <a:pt x="33" y="11"/>
                          <a:pt x="33" y="11"/>
                        </a:cubicBezTo>
                        <a:cubicBezTo>
                          <a:pt x="35" y="11"/>
                          <a:pt x="37" y="13"/>
                          <a:pt x="37" y="16"/>
                        </a:cubicBezTo>
                        <a:cubicBezTo>
                          <a:pt x="37" y="117"/>
                          <a:pt x="37" y="117"/>
                          <a:pt x="37" y="117"/>
                        </a:cubicBezTo>
                        <a:cubicBezTo>
                          <a:pt x="37" y="119"/>
                          <a:pt x="35" y="121"/>
                          <a:pt x="33" y="121"/>
                        </a:cubicBezTo>
                        <a:cubicBezTo>
                          <a:pt x="16" y="121"/>
                          <a:pt x="16" y="121"/>
                          <a:pt x="16" y="121"/>
                        </a:cubicBezTo>
                        <a:cubicBezTo>
                          <a:pt x="14" y="121"/>
                          <a:pt x="12" y="119"/>
                          <a:pt x="12" y="117"/>
                        </a:cubicBezTo>
                        <a:cubicBezTo>
                          <a:pt x="12" y="16"/>
                          <a:pt x="12" y="16"/>
                          <a:pt x="12" y="16"/>
                        </a:cubicBezTo>
                        <a:cubicBezTo>
                          <a:pt x="12" y="16"/>
                          <a:pt x="12" y="16"/>
                          <a:pt x="12" y="16"/>
                        </a:cubicBezTo>
                        <a:close/>
                        <a:moveTo>
                          <a:pt x="24" y="164"/>
                        </a:moveTo>
                        <a:cubicBezTo>
                          <a:pt x="17" y="164"/>
                          <a:pt x="12" y="158"/>
                          <a:pt x="12" y="151"/>
                        </a:cubicBezTo>
                        <a:cubicBezTo>
                          <a:pt x="12" y="144"/>
                          <a:pt x="17" y="138"/>
                          <a:pt x="24" y="138"/>
                        </a:cubicBezTo>
                        <a:cubicBezTo>
                          <a:pt x="31" y="138"/>
                          <a:pt x="37" y="144"/>
                          <a:pt x="37" y="151"/>
                        </a:cubicBezTo>
                        <a:cubicBezTo>
                          <a:pt x="37" y="158"/>
                          <a:pt x="31" y="164"/>
                          <a:pt x="24" y="164"/>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70" name="Oval 209"/>
                  <p:cNvSpPr>
                    <a:spLocks noChangeArrowheads="1"/>
                  </p:cNvSpPr>
                  <p:nvPr/>
                </p:nvSpPr>
                <p:spPr bwMode="auto">
                  <a:xfrm rot="5400000">
                    <a:off x="11563340" y="653114"/>
                    <a:ext cx="13098" cy="16600"/>
                  </a:xfrm>
                  <a:prstGeom prst="ellipse">
                    <a:avLst/>
                  </a:pr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sp>
              <p:nvSpPr>
                <p:cNvPr id="613" name="Freeform 210"/>
                <p:cNvSpPr>
                  <a:spLocks/>
                </p:cNvSpPr>
                <p:nvPr/>
              </p:nvSpPr>
              <p:spPr bwMode="auto">
                <a:xfrm>
                  <a:off x="10269655" y="1884130"/>
                  <a:ext cx="174640" cy="98093"/>
                </a:xfrm>
                <a:custGeom>
                  <a:avLst/>
                  <a:gdLst>
                    <a:gd name="T0" fmla="*/ 117 w 159"/>
                    <a:gd name="T1" fmla="*/ 86 h 86"/>
                    <a:gd name="T2" fmla="*/ 159 w 159"/>
                    <a:gd name="T3" fmla="*/ 43 h 86"/>
                    <a:gd name="T4" fmla="*/ 117 w 159"/>
                    <a:gd name="T5" fmla="*/ 0 h 86"/>
                    <a:gd name="T6" fmla="*/ 80 w 159"/>
                    <a:gd name="T7" fmla="*/ 21 h 86"/>
                    <a:gd name="T8" fmla="*/ 66 w 159"/>
                    <a:gd name="T9" fmla="*/ 18 h 86"/>
                    <a:gd name="T10" fmla="*/ 35 w 159"/>
                    <a:gd name="T11" fmla="*/ 36 h 86"/>
                    <a:gd name="T12" fmla="*/ 26 w 159"/>
                    <a:gd name="T13" fmla="*/ 34 h 86"/>
                    <a:gd name="T14" fmla="*/ 0 w 159"/>
                    <a:gd name="T15" fmla="*/ 60 h 86"/>
                    <a:gd name="T16" fmla="*/ 26 w 159"/>
                    <a:gd name="T17" fmla="*/ 86 h 86"/>
                    <a:gd name="T18" fmla="*/ 117 w 159"/>
                    <a:gd name="T19" fmla="*/ 86 h 86"/>
                    <a:gd name="T20" fmla="*/ 117 w 159"/>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86">
                      <a:moveTo>
                        <a:pt x="117" y="86"/>
                      </a:moveTo>
                      <a:cubicBezTo>
                        <a:pt x="140" y="86"/>
                        <a:pt x="159" y="66"/>
                        <a:pt x="159" y="43"/>
                      </a:cubicBezTo>
                      <a:cubicBezTo>
                        <a:pt x="159" y="20"/>
                        <a:pt x="140" y="0"/>
                        <a:pt x="117" y="0"/>
                      </a:cubicBezTo>
                      <a:cubicBezTo>
                        <a:pt x="101" y="0"/>
                        <a:pt x="88" y="9"/>
                        <a:pt x="80" y="21"/>
                      </a:cubicBezTo>
                      <a:cubicBezTo>
                        <a:pt x="76" y="19"/>
                        <a:pt x="71" y="18"/>
                        <a:pt x="66" y="18"/>
                      </a:cubicBezTo>
                      <a:cubicBezTo>
                        <a:pt x="52" y="18"/>
                        <a:pt x="41" y="25"/>
                        <a:pt x="35" y="36"/>
                      </a:cubicBezTo>
                      <a:cubicBezTo>
                        <a:pt x="32" y="35"/>
                        <a:pt x="29" y="34"/>
                        <a:pt x="26" y="34"/>
                      </a:cubicBezTo>
                      <a:cubicBezTo>
                        <a:pt x="12" y="34"/>
                        <a:pt x="0" y="46"/>
                        <a:pt x="0" y="60"/>
                      </a:cubicBezTo>
                      <a:cubicBezTo>
                        <a:pt x="0" y="74"/>
                        <a:pt x="12" y="86"/>
                        <a:pt x="26" y="86"/>
                      </a:cubicBezTo>
                      <a:cubicBezTo>
                        <a:pt x="117" y="86"/>
                        <a:pt x="117" y="86"/>
                        <a:pt x="117" y="86"/>
                      </a:cubicBezTo>
                      <a:cubicBezTo>
                        <a:pt x="117" y="86"/>
                        <a:pt x="117" y="86"/>
                        <a:pt x="117" y="86"/>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4" name="Freeform 211"/>
                <p:cNvSpPr>
                  <a:spLocks noEditPoints="1"/>
                </p:cNvSpPr>
                <p:nvPr/>
              </p:nvSpPr>
              <p:spPr bwMode="auto">
                <a:xfrm>
                  <a:off x="10830108" y="1154290"/>
                  <a:ext cx="228487" cy="108658"/>
                </a:xfrm>
                <a:custGeom>
                  <a:avLst/>
                  <a:gdLst>
                    <a:gd name="T0" fmla="*/ 157 w 208"/>
                    <a:gd name="T1" fmla="*/ 95 h 95"/>
                    <a:gd name="T2" fmla="*/ 147 w 208"/>
                    <a:gd name="T3" fmla="*/ 95 h 95"/>
                    <a:gd name="T4" fmla="*/ 114 w 208"/>
                    <a:gd name="T5" fmla="*/ 63 h 95"/>
                    <a:gd name="T6" fmla="*/ 112 w 208"/>
                    <a:gd name="T7" fmla="*/ 63 h 95"/>
                    <a:gd name="T8" fmla="*/ 106 w 208"/>
                    <a:gd name="T9" fmla="*/ 51 h 95"/>
                    <a:gd name="T10" fmla="*/ 114 w 208"/>
                    <a:gd name="T11" fmla="*/ 51 h 95"/>
                    <a:gd name="T12" fmla="*/ 157 w 208"/>
                    <a:gd name="T13" fmla="*/ 95 h 95"/>
                    <a:gd name="T14" fmla="*/ 114 w 208"/>
                    <a:gd name="T15" fmla="*/ 0 h 95"/>
                    <a:gd name="T16" fmla="*/ 47 w 208"/>
                    <a:gd name="T17" fmla="*/ 27 h 95"/>
                    <a:gd name="T18" fmla="*/ 57 w 208"/>
                    <a:gd name="T19" fmla="*/ 25 h 95"/>
                    <a:gd name="T20" fmla="*/ 65 w 208"/>
                    <a:gd name="T21" fmla="*/ 27 h 95"/>
                    <a:gd name="T22" fmla="*/ 114 w 208"/>
                    <a:gd name="T23" fmla="*/ 12 h 95"/>
                    <a:gd name="T24" fmla="*/ 198 w 208"/>
                    <a:gd name="T25" fmla="*/ 95 h 95"/>
                    <a:gd name="T26" fmla="*/ 208 w 208"/>
                    <a:gd name="T27" fmla="*/ 95 h 95"/>
                    <a:gd name="T28" fmla="*/ 114 w 208"/>
                    <a:gd name="T29" fmla="*/ 0 h 95"/>
                    <a:gd name="T30" fmla="*/ 114 w 208"/>
                    <a:gd name="T31" fmla="*/ 27 h 95"/>
                    <a:gd name="T32" fmla="*/ 78 w 208"/>
                    <a:gd name="T33" fmla="*/ 35 h 95"/>
                    <a:gd name="T34" fmla="*/ 80 w 208"/>
                    <a:gd name="T35" fmla="*/ 39 h 95"/>
                    <a:gd name="T36" fmla="*/ 80 w 208"/>
                    <a:gd name="T37" fmla="*/ 39 h 95"/>
                    <a:gd name="T38" fmla="*/ 94 w 208"/>
                    <a:gd name="T39" fmla="*/ 41 h 95"/>
                    <a:gd name="T40" fmla="*/ 114 w 208"/>
                    <a:gd name="T41" fmla="*/ 37 h 95"/>
                    <a:gd name="T42" fmla="*/ 171 w 208"/>
                    <a:gd name="T43" fmla="*/ 95 h 95"/>
                    <a:gd name="T44" fmla="*/ 183 w 208"/>
                    <a:gd name="T45" fmla="*/ 95 h 95"/>
                    <a:gd name="T46" fmla="*/ 114 w 208"/>
                    <a:gd name="T47" fmla="*/ 27 h 95"/>
                    <a:gd name="T48" fmla="*/ 0 w 208"/>
                    <a:gd name="T49" fmla="*/ 79 h 95"/>
                    <a:gd name="T50" fmla="*/ 17 w 208"/>
                    <a:gd name="T51" fmla="*/ 93 h 95"/>
                    <a:gd name="T52" fmla="*/ 19 w 208"/>
                    <a:gd name="T53" fmla="*/ 93 h 95"/>
                    <a:gd name="T54" fmla="*/ 84 w 208"/>
                    <a:gd name="T55" fmla="*/ 93 h 95"/>
                    <a:gd name="T56" fmla="*/ 104 w 208"/>
                    <a:gd name="T57" fmla="*/ 71 h 95"/>
                    <a:gd name="T58" fmla="*/ 80 w 208"/>
                    <a:gd name="T59" fmla="*/ 49 h 95"/>
                    <a:gd name="T60" fmla="*/ 74 w 208"/>
                    <a:gd name="T61" fmla="*/ 49 h 95"/>
                    <a:gd name="T62" fmla="*/ 57 w 208"/>
                    <a:gd name="T63" fmla="*/ 35 h 95"/>
                    <a:gd name="T64" fmla="*/ 37 w 208"/>
                    <a:gd name="T65" fmla="*/ 53 h 95"/>
                    <a:gd name="T66" fmla="*/ 37 w 208"/>
                    <a:gd name="T67" fmla="*/ 57 h 95"/>
                    <a:gd name="T68" fmla="*/ 31 w 208"/>
                    <a:gd name="T69" fmla="*/ 55 h 95"/>
                    <a:gd name="T70" fmla="*/ 19 w 208"/>
                    <a:gd name="T71" fmla="*/ 63 h 95"/>
                    <a:gd name="T72" fmla="*/ 17 w 208"/>
                    <a:gd name="T73" fmla="*/ 63 h 95"/>
                    <a:gd name="T74" fmla="*/ 0 w 208"/>
                    <a:gd name="T75"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 h="95">
                      <a:moveTo>
                        <a:pt x="157" y="95"/>
                      </a:moveTo>
                      <a:cubicBezTo>
                        <a:pt x="147" y="95"/>
                        <a:pt x="147" y="95"/>
                        <a:pt x="147" y="95"/>
                      </a:cubicBezTo>
                      <a:cubicBezTo>
                        <a:pt x="147" y="77"/>
                        <a:pt x="131" y="63"/>
                        <a:pt x="114" y="63"/>
                      </a:cubicBezTo>
                      <a:cubicBezTo>
                        <a:pt x="112" y="63"/>
                        <a:pt x="112" y="63"/>
                        <a:pt x="112" y="63"/>
                      </a:cubicBezTo>
                      <a:cubicBezTo>
                        <a:pt x="110" y="59"/>
                        <a:pt x="108" y="55"/>
                        <a:pt x="106" y="51"/>
                      </a:cubicBezTo>
                      <a:cubicBezTo>
                        <a:pt x="108" y="51"/>
                        <a:pt x="110" y="51"/>
                        <a:pt x="114" y="51"/>
                      </a:cubicBezTo>
                      <a:cubicBezTo>
                        <a:pt x="139" y="51"/>
                        <a:pt x="157" y="71"/>
                        <a:pt x="157" y="95"/>
                      </a:cubicBezTo>
                      <a:close/>
                      <a:moveTo>
                        <a:pt x="114" y="0"/>
                      </a:moveTo>
                      <a:cubicBezTo>
                        <a:pt x="88" y="0"/>
                        <a:pt x="65" y="10"/>
                        <a:pt x="47" y="27"/>
                      </a:cubicBezTo>
                      <a:cubicBezTo>
                        <a:pt x="51" y="27"/>
                        <a:pt x="53" y="25"/>
                        <a:pt x="57" y="25"/>
                      </a:cubicBezTo>
                      <a:cubicBezTo>
                        <a:pt x="59" y="25"/>
                        <a:pt x="63" y="27"/>
                        <a:pt x="65" y="27"/>
                      </a:cubicBezTo>
                      <a:cubicBezTo>
                        <a:pt x="80" y="18"/>
                        <a:pt x="96" y="12"/>
                        <a:pt x="114" y="12"/>
                      </a:cubicBezTo>
                      <a:cubicBezTo>
                        <a:pt x="159" y="12"/>
                        <a:pt x="198" y="49"/>
                        <a:pt x="198" y="95"/>
                      </a:cubicBezTo>
                      <a:cubicBezTo>
                        <a:pt x="208" y="95"/>
                        <a:pt x="208" y="95"/>
                        <a:pt x="208" y="95"/>
                      </a:cubicBezTo>
                      <a:cubicBezTo>
                        <a:pt x="208" y="43"/>
                        <a:pt x="165" y="0"/>
                        <a:pt x="114" y="0"/>
                      </a:cubicBezTo>
                      <a:close/>
                      <a:moveTo>
                        <a:pt x="114" y="27"/>
                      </a:moveTo>
                      <a:cubicBezTo>
                        <a:pt x="100" y="27"/>
                        <a:pt x="88" y="29"/>
                        <a:pt x="78" y="35"/>
                      </a:cubicBezTo>
                      <a:cubicBezTo>
                        <a:pt x="80" y="37"/>
                        <a:pt x="80" y="37"/>
                        <a:pt x="80" y="39"/>
                      </a:cubicBezTo>
                      <a:cubicBezTo>
                        <a:pt x="80" y="39"/>
                        <a:pt x="80" y="39"/>
                        <a:pt x="80" y="39"/>
                      </a:cubicBezTo>
                      <a:cubicBezTo>
                        <a:pt x="86" y="39"/>
                        <a:pt x="90" y="39"/>
                        <a:pt x="94" y="41"/>
                      </a:cubicBezTo>
                      <a:cubicBezTo>
                        <a:pt x="100" y="39"/>
                        <a:pt x="106" y="37"/>
                        <a:pt x="114" y="37"/>
                      </a:cubicBezTo>
                      <a:cubicBezTo>
                        <a:pt x="145" y="37"/>
                        <a:pt x="171" y="63"/>
                        <a:pt x="171" y="95"/>
                      </a:cubicBezTo>
                      <a:cubicBezTo>
                        <a:pt x="183" y="95"/>
                        <a:pt x="183" y="95"/>
                        <a:pt x="183" y="95"/>
                      </a:cubicBezTo>
                      <a:cubicBezTo>
                        <a:pt x="183" y="57"/>
                        <a:pt x="153" y="27"/>
                        <a:pt x="114" y="27"/>
                      </a:cubicBezTo>
                      <a:close/>
                      <a:moveTo>
                        <a:pt x="0" y="79"/>
                      </a:moveTo>
                      <a:cubicBezTo>
                        <a:pt x="0" y="87"/>
                        <a:pt x="7" y="93"/>
                        <a:pt x="17" y="93"/>
                      </a:cubicBezTo>
                      <a:cubicBezTo>
                        <a:pt x="19" y="93"/>
                        <a:pt x="19" y="93"/>
                        <a:pt x="19" y="93"/>
                      </a:cubicBezTo>
                      <a:cubicBezTo>
                        <a:pt x="84" y="93"/>
                        <a:pt x="84" y="93"/>
                        <a:pt x="84" y="93"/>
                      </a:cubicBezTo>
                      <a:cubicBezTo>
                        <a:pt x="94" y="93"/>
                        <a:pt x="104" y="83"/>
                        <a:pt x="104" y="71"/>
                      </a:cubicBezTo>
                      <a:cubicBezTo>
                        <a:pt x="104" y="59"/>
                        <a:pt x="94" y="49"/>
                        <a:pt x="80" y="49"/>
                      </a:cubicBezTo>
                      <a:cubicBezTo>
                        <a:pt x="78" y="49"/>
                        <a:pt x="76" y="49"/>
                        <a:pt x="74" y="49"/>
                      </a:cubicBezTo>
                      <a:cubicBezTo>
                        <a:pt x="72" y="41"/>
                        <a:pt x="65" y="35"/>
                        <a:pt x="57" y="35"/>
                      </a:cubicBezTo>
                      <a:cubicBezTo>
                        <a:pt x="45" y="35"/>
                        <a:pt x="37" y="43"/>
                        <a:pt x="37" y="53"/>
                      </a:cubicBezTo>
                      <a:cubicBezTo>
                        <a:pt x="37" y="55"/>
                        <a:pt x="37" y="55"/>
                        <a:pt x="37" y="57"/>
                      </a:cubicBezTo>
                      <a:cubicBezTo>
                        <a:pt x="35" y="55"/>
                        <a:pt x="33" y="55"/>
                        <a:pt x="31" y="55"/>
                      </a:cubicBezTo>
                      <a:cubicBezTo>
                        <a:pt x="27" y="55"/>
                        <a:pt x="21" y="59"/>
                        <a:pt x="19" y="63"/>
                      </a:cubicBezTo>
                      <a:cubicBezTo>
                        <a:pt x="17" y="63"/>
                        <a:pt x="17" y="63"/>
                        <a:pt x="17" y="63"/>
                      </a:cubicBezTo>
                      <a:cubicBezTo>
                        <a:pt x="7" y="63"/>
                        <a:pt x="0" y="69"/>
                        <a:pt x="0" y="79"/>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5" name="Freeform 212"/>
                <p:cNvSpPr>
                  <a:spLocks noEditPoints="1"/>
                </p:cNvSpPr>
                <p:nvPr/>
              </p:nvSpPr>
              <p:spPr bwMode="auto">
                <a:xfrm rot="5400000">
                  <a:off x="11526332" y="832802"/>
                  <a:ext cx="256138" cy="264099"/>
                </a:xfrm>
                <a:custGeom>
                  <a:avLst/>
                  <a:gdLst>
                    <a:gd name="T0" fmla="*/ 86 w 176"/>
                    <a:gd name="T1" fmla="*/ 78 h 175"/>
                    <a:gd name="T2" fmla="*/ 92 w 176"/>
                    <a:gd name="T3" fmla="*/ 48 h 175"/>
                    <a:gd name="T4" fmla="*/ 92 w 176"/>
                    <a:gd name="T5" fmla="*/ 50 h 175"/>
                    <a:gd name="T6" fmla="*/ 101 w 176"/>
                    <a:gd name="T7" fmla="*/ 53 h 175"/>
                    <a:gd name="T8" fmla="*/ 109 w 176"/>
                    <a:gd name="T9" fmla="*/ 67 h 175"/>
                    <a:gd name="T10" fmla="*/ 131 w 176"/>
                    <a:gd name="T11" fmla="*/ 40 h 175"/>
                    <a:gd name="T12" fmla="*/ 92 w 176"/>
                    <a:gd name="T13" fmla="*/ 47 h 175"/>
                    <a:gd name="T14" fmla="*/ 92 w 176"/>
                    <a:gd name="T15" fmla="*/ 48 h 175"/>
                    <a:gd name="T16" fmla="*/ 101 w 176"/>
                    <a:gd name="T17" fmla="*/ 50 h 175"/>
                    <a:gd name="T18" fmla="*/ 111 w 176"/>
                    <a:gd name="T19" fmla="*/ 53 h 175"/>
                    <a:gd name="T20" fmla="*/ 111 w 176"/>
                    <a:gd name="T21" fmla="*/ 51 h 175"/>
                    <a:gd name="T22" fmla="*/ 111 w 176"/>
                    <a:gd name="T23" fmla="*/ 53 h 175"/>
                    <a:gd name="T24" fmla="*/ 110 w 176"/>
                    <a:gd name="T25" fmla="*/ 53 h 175"/>
                    <a:gd name="T26" fmla="*/ 111 w 176"/>
                    <a:gd name="T27" fmla="*/ 51 h 175"/>
                    <a:gd name="T28" fmla="*/ 110 w 176"/>
                    <a:gd name="T29" fmla="*/ 53 h 175"/>
                    <a:gd name="T30" fmla="*/ 51 w 176"/>
                    <a:gd name="T31" fmla="*/ 102 h 175"/>
                    <a:gd name="T32" fmla="*/ 83 w 176"/>
                    <a:gd name="T33" fmla="*/ 93 h 175"/>
                    <a:gd name="T34" fmla="*/ 49 w 176"/>
                    <a:gd name="T35" fmla="*/ 83 h 175"/>
                    <a:gd name="T36" fmla="*/ 30 w 176"/>
                    <a:gd name="T37" fmla="*/ 87 h 175"/>
                    <a:gd name="T38" fmla="*/ 44 w 176"/>
                    <a:gd name="T39" fmla="*/ 103 h 175"/>
                    <a:gd name="T40" fmla="*/ 51 w 176"/>
                    <a:gd name="T41" fmla="*/ 102 h 175"/>
                    <a:gd name="T42" fmla="*/ 51 w 176"/>
                    <a:gd name="T43" fmla="*/ 92 h 175"/>
                    <a:gd name="T44" fmla="*/ 45 w 176"/>
                    <a:gd name="T45" fmla="*/ 83 h 175"/>
                    <a:gd name="T46" fmla="*/ 46 w 176"/>
                    <a:gd name="T47" fmla="*/ 84 h 175"/>
                    <a:gd name="T48" fmla="*/ 44 w 176"/>
                    <a:gd name="T49" fmla="*/ 86 h 175"/>
                    <a:gd name="T50" fmla="*/ 45 w 176"/>
                    <a:gd name="T51" fmla="*/ 84 h 175"/>
                    <a:gd name="T52" fmla="*/ 48 w 176"/>
                    <a:gd name="T53" fmla="*/ 84 h 175"/>
                    <a:gd name="T54" fmla="*/ 45 w 176"/>
                    <a:gd name="T55" fmla="*/ 84 h 175"/>
                    <a:gd name="T56" fmla="*/ 46 w 176"/>
                    <a:gd name="T57" fmla="*/ 86 h 175"/>
                    <a:gd name="T58" fmla="*/ 45 w 176"/>
                    <a:gd name="T59" fmla="*/ 84 h 175"/>
                    <a:gd name="T60" fmla="*/ 118 w 176"/>
                    <a:gd name="T61" fmla="*/ 110 h 175"/>
                    <a:gd name="T62" fmla="*/ 95 w 176"/>
                    <a:gd name="T63" fmla="*/ 87 h 175"/>
                    <a:gd name="T64" fmla="*/ 123 w 176"/>
                    <a:gd name="T65" fmla="*/ 126 h 175"/>
                    <a:gd name="T66" fmla="*/ 103 w 176"/>
                    <a:gd name="T67" fmla="*/ 125 h 175"/>
                    <a:gd name="T68" fmla="*/ 95 w 176"/>
                    <a:gd name="T69" fmla="*/ 151 h 175"/>
                    <a:gd name="T70" fmla="*/ 118 w 176"/>
                    <a:gd name="T71" fmla="*/ 110 h 175"/>
                    <a:gd name="T72" fmla="*/ 110 w 176"/>
                    <a:gd name="T73" fmla="*/ 115 h 175"/>
                    <a:gd name="T74" fmla="*/ 105 w 176"/>
                    <a:gd name="T75" fmla="*/ 124 h 175"/>
                    <a:gd name="T76" fmla="*/ 107 w 176"/>
                    <a:gd name="T77" fmla="*/ 125 h 175"/>
                    <a:gd name="T78" fmla="*/ 112 w 176"/>
                    <a:gd name="T79" fmla="*/ 117 h 175"/>
                    <a:gd name="T80" fmla="*/ 108 w 176"/>
                    <a:gd name="T81" fmla="*/ 125 h 175"/>
                    <a:gd name="T82" fmla="*/ 107 w 176"/>
                    <a:gd name="T83" fmla="*/ 125 h 175"/>
                    <a:gd name="T84" fmla="*/ 112 w 176"/>
                    <a:gd name="T85" fmla="*/ 117 h 175"/>
                    <a:gd name="T86" fmla="*/ 107 w 176"/>
                    <a:gd name="T87" fmla="*/ 125 h 175"/>
                    <a:gd name="T88" fmla="*/ 105 w 176"/>
                    <a:gd name="T89" fmla="*/ 124 h 175"/>
                    <a:gd name="T90" fmla="*/ 92 w 176"/>
                    <a:gd name="T91" fmla="*/ 86 h 175"/>
                    <a:gd name="T92" fmla="*/ 86 w 176"/>
                    <a:gd name="T93" fmla="*/ 80 h 175"/>
                    <a:gd name="T94" fmla="*/ 82 w 176"/>
                    <a:gd name="T95" fmla="*/ 90 h 175"/>
                    <a:gd name="T96" fmla="*/ 80 w 176"/>
                    <a:gd name="T97" fmla="*/ 87 h 175"/>
                    <a:gd name="T98" fmla="*/ 95 w 176"/>
                    <a:gd name="T99" fmla="*/ 90 h 175"/>
                    <a:gd name="T100" fmla="*/ 86 w 176"/>
                    <a:gd name="T101" fmla="*/ 80 h 175"/>
                    <a:gd name="T102" fmla="*/ 80 w 176"/>
                    <a:gd name="T103" fmla="*/ 91 h 175"/>
                    <a:gd name="T104" fmla="*/ 95 w 176"/>
                    <a:gd name="T105" fmla="*/ 90 h 175"/>
                    <a:gd name="T106" fmla="*/ 24 w 176"/>
                    <a:gd name="T107" fmla="*/ 130 h 175"/>
                    <a:gd name="T108" fmla="*/ 29 w 176"/>
                    <a:gd name="T109" fmla="*/ 38 h 175"/>
                    <a:gd name="T110" fmla="*/ 117 w 176"/>
                    <a:gd name="T111" fmla="*/ 16 h 175"/>
                    <a:gd name="T112" fmla="*/ 164 w 176"/>
                    <a:gd name="T113" fmla="*/ 95 h 175"/>
                    <a:gd name="T114" fmla="*/ 95 w 176"/>
                    <a:gd name="T115" fmla="*/ 164 h 175"/>
                    <a:gd name="T116" fmla="*/ 156 w 176"/>
                    <a:gd name="T117" fmla="*/ 142 h 175"/>
                    <a:gd name="T118" fmla="*/ 161 w 176"/>
                    <a:gd name="T119" fmla="*/ 38 h 175"/>
                    <a:gd name="T120" fmla="*/ 62 w 176"/>
                    <a:gd name="T121" fmla="*/ 4 h 175"/>
                    <a:gd name="T122" fmla="*/ 0 w 176"/>
                    <a:gd name="T123" fmla="*/ 87 h 175"/>
                    <a:gd name="T124" fmla="*/ 70 w 176"/>
                    <a:gd name="T125" fmla="*/ 17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 h="175">
                      <a:moveTo>
                        <a:pt x="92" y="48"/>
                      </a:moveTo>
                      <a:lnTo>
                        <a:pt x="92" y="50"/>
                      </a:lnTo>
                      <a:lnTo>
                        <a:pt x="92" y="50"/>
                      </a:lnTo>
                      <a:lnTo>
                        <a:pt x="86" y="50"/>
                      </a:lnTo>
                      <a:lnTo>
                        <a:pt x="80" y="51"/>
                      </a:lnTo>
                      <a:lnTo>
                        <a:pt x="77" y="55"/>
                      </a:lnTo>
                      <a:lnTo>
                        <a:pt x="74" y="61"/>
                      </a:lnTo>
                      <a:lnTo>
                        <a:pt x="74" y="61"/>
                      </a:lnTo>
                      <a:lnTo>
                        <a:pt x="74" y="67"/>
                      </a:lnTo>
                      <a:lnTo>
                        <a:pt x="77" y="72"/>
                      </a:lnTo>
                      <a:lnTo>
                        <a:pt x="77" y="72"/>
                      </a:lnTo>
                      <a:lnTo>
                        <a:pt x="80" y="76"/>
                      </a:lnTo>
                      <a:lnTo>
                        <a:pt x="86" y="78"/>
                      </a:lnTo>
                      <a:lnTo>
                        <a:pt x="86" y="78"/>
                      </a:lnTo>
                      <a:lnTo>
                        <a:pt x="84" y="80"/>
                      </a:lnTo>
                      <a:lnTo>
                        <a:pt x="84" y="80"/>
                      </a:lnTo>
                      <a:lnTo>
                        <a:pt x="78" y="76"/>
                      </a:lnTo>
                      <a:lnTo>
                        <a:pt x="74" y="72"/>
                      </a:lnTo>
                      <a:lnTo>
                        <a:pt x="73" y="67"/>
                      </a:lnTo>
                      <a:lnTo>
                        <a:pt x="73" y="61"/>
                      </a:lnTo>
                      <a:lnTo>
                        <a:pt x="73" y="61"/>
                      </a:lnTo>
                      <a:lnTo>
                        <a:pt x="76" y="55"/>
                      </a:lnTo>
                      <a:lnTo>
                        <a:pt x="80" y="50"/>
                      </a:lnTo>
                      <a:lnTo>
                        <a:pt x="86" y="47"/>
                      </a:lnTo>
                      <a:lnTo>
                        <a:pt x="92" y="47"/>
                      </a:lnTo>
                      <a:lnTo>
                        <a:pt x="92" y="48"/>
                      </a:lnTo>
                      <a:lnTo>
                        <a:pt x="92" y="48"/>
                      </a:lnTo>
                      <a:lnTo>
                        <a:pt x="92" y="48"/>
                      </a:lnTo>
                      <a:close/>
                      <a:moveTo>
                        <a:pt x="86" y="80"/>
                      </a:moveTo>
                      <a:lnTo>
                        <a:pt x="86" y="80"/>
                      </a:lnTo>
                      <a:lnTo>
                        <a:pt x="86" y="80"/>
                      </a:lnTo>
                      <a:lnTo>
                        <a:pt x="86" y="80"/>
                      </a:lnTo>
                      <a:lnTo>
                        <a:pt x="86" y="80"/>
                      </a:lnTo>
                      <a:lnTo>
                        <a:pt x="86" y="80"/>
                      </a:lnTo>
                      <a:lnTo>
                        <a:pt x="86" y="80"/>
                      </a:lnTo>
                      <a:lnTo>
                        <a:pt x="86" y="80"/>
                      </a:lnTo>
                      <a:close/>
                      <a:moveTo>
                        <a:pt x="101" y="53"/>
                      </a:moveTo>
                      <a:lnTo>
                        <a:pt x="101" y="53"/>
                      </a:lnTo>
                      <a:lnTo>
                        <a:pt x="98" y="51"/>
                      </a:lnTo>
                      <a:lnTo>
                        <a:pt x="97" y="50"/>
                      </a:lnTo>
                      <a:lnTo>
                        <a:pt x="92" y="48"/>
                      </a:lnTo>
                      <a:lnTo>
                        <a:pt x="92" y="50"/>
                      </a:lnTo>
                      <a:lnTo>
                        <a:pt x="92" y="50"/>
                      </a:lnTo>
                      <a:lnTo>
                        <a:pt x="92" y="50"/>
                      </a:lnTo>
                      <a:lnTo>
                        <a:pt x="92" y="50"/>
                      </a:lnTo>
                      <a:lnTo>
                        <a:pt x="92" y="50"/>
                      </a:lnTo>
                      <a:lnTo>
                        <a:pt x="92" y="55"/>
                      </a:lnTo>
                      <a:lnTo>
                        <a:pt x="93" y="59"/>
                      </a:lnTo>
                      <a:lnTo>
                        <a:pt x="98" y="63"/>
                      </a:lnTo>
                      <a:lnTo>
                        <a:pt x="103" y="65"/>
                      </a:lnTo>
                      <a:lnTo>
                        <a:pt x="108" y="67"/>
                      </a:lnTo>
                      <a:lnTo>
                        <a:pt x="108" y="67"/>
                      </a:lnTo>
                      <a:lnTo>
                        <a:pt x="109" y="55"/>
                      </a:lnTo>
                      <a:lnTo>
                        <a:pt x="101" y="53"/>
                      </a:lnTo>
                      <a:lnTo>
                        <a:pt x="101" y="53"/>
                      </a:lnTo>
                      <a:lnTo>
                        <a:pt x="101" y="53"/>
                      </a:lnTo>
                      <a:close/>
                      <a:moveTo>
                        <a:pt x="131" y="40"/>
                      </a:moveTo>
                      <a:lnTo>
                        <a:pt x="116" y="37"/>
                      </a:lnTo>
                      <a:lnTo>
                        <a:pt x="116" y="37"/>
                      </a:lnTo>
                      <a:lnTo>
                        <a:pt x="112" y="50"/>
                      </a:lnTo>
                      <a:lnTo>
                        <a:pt x="112" y="50"/>
                      </a:lnTo>
                      <a:lnTo>
                        <a:pt x="112" y="50"/>
                      </a:lnTo>
                      <a:lnTo>
                        <a:pt x="114" y="50"/>
                      </a:lnTo>
                      <a:lnTo>
                        <a:pt x="114" y="53"/>
                      </a:lnTo>
                      <a:lnTo>
                        <a:pt x="114" y="53"/>
                      </a:lnTo>
                      <a:lnTo>
                        <a:pt x="112" y="55"/>
                      </a:lnTo>
                      <a:lnTo>
                        <a:pt x="110" y="55"/>
                      </a:lnTo>
                      <a:lnTo>
                        <a:pt x="110" y="55"/>
                      </a:lnTo>
                      <a:lnTo>
                        <a:pt x="110" y="55"/>
                      </a:lnTo>
                      <a:lnTo>
                        <a:pt x="109" y="67"/>
                      </a:lnTo>
                      <a:lnTo>
                        <a:pt x="124" y="70"/>
                      </a:lnTo>
                      <a:lnTo>
                        <a:pt x="124" y="70"/>
                      </a:lnTo>
                      <a:lnTo>
                        <a:pt x="130" y="71"/>
                      </a:lnTo>
                      <a:lnTo>
                        <a:pt x="135" y="68"/>
                      </a:lnTo>
                      <a:lnTo>
                        <a:pt x="138" y="65"/>
                      </a:lnTo>
                      <a:lnTo>
                        <a:pt x="141" y="59"/>
                      </a:lnTo>
                      <a:lnTo>
                        <a:pt x="142" y="59"/>
                      </a:lnTo>
                      <a:lnTo>
                        <a:pt x="142" y="59"/>
                      </a:lnTo>
                      <a:lnTo>
                        <a:pt x="142" y="53"/>
                      </a:lnTo>
                      <a:lnTo>
                        <a:pt x="140" y="48"/>
                      </a:lnTo>
                      <a:lnTo>
                        <a:pt x="136" y="43"/>
                      </a:lnTo>
                      <a:lnTo>
                        <a:pt x="131" y="40"/>
                      </a:lnTo>
                      <a:lnTo>
                        <a:pt x="131" y="40"/>
                      </a:lnTo>
                      <a:lnTo>
                        <a:pt x="131" y="40"/>
                      </a:lnTo>
                      <a:close/>
                      <a:moveTo>
                        <a:pt x="92" y="47"/>
                      </a:moveTo>
                      <a:lnTo>
                        <a:pt x="98" y="48"/>
                      </a:lnTo>
                      <a:lnTo>
                        <a:pt x="98" y="48"/>
                      </a:lnTo>
                      <a:lnTo>
                        <a:pt x="99" y="47"/>
                      </a:lnTo>
                      <a:lnTo>
                        <a:pt x="102" y="47"/>
                      </a:lnTo>
                      <a:lnTo>
                        <a:pt x="111" y="50"/>
                      </a:lnTo>
                      <a:lnTo>
                        <a:pt x="111" y="50"/>
                      </a:lnTo>
                      <a:lnTo>
                        <a:pt x="114" y="37"/>
                      </a:lnTo>
                      <a:lnTo>
                        <a:pt x="110" y="36"/>
                      </a:lnTo>
                      <a:lnTo>
                        <a:pt x="110" y="36"/>
                      </a:lnTo>
                      <a:lnTo>
                        <a:pt x="105" y="36"/>
                      </a:lnTo>
                      <a:lnTo>
                        <a:pt x="99" y="38"/>
                      </a:lnTo>
                      <a:lnTo>
                        <a:pt x="95" y="42"/>
                      </a:lnTo>
                      <a:lnTo>
                        <a:pt x="92" y="47"/>
                      </a:lnTo>
                      <a:lnTo>
                        <a:pt x="92" y="48"/>
                      </a:lnTo>
                      <a:lnTo>
                        <a:pt x="92" y="48"/>
                      </a:lnTo>
                      <a:lnTo>
                        <a:pt x="92" y="47"/>
                      </a:lnTo>
                      <a:lnTo>
                        <a:pt x="92" y="47"/>
                      </a:lnTo>
                      <a:lnTo>
                        <a:pt x="92" y="47"/>
                      </a:lnTo>
                      <a:close/>
                      <a:moveTo>
                        <a:pt x="92" y="48"/>
                      </a:moveTo>
                      <a:lnTo>
                        <a:pt x="92" y="48"/>
                      </a:lnTo>
                      <a:lnTo>
                        <a:pt x="92" y="48"/>
                      </a:lnTo>
                      <a:lnTo>
                        <a:pt x="92" y="48"/>
                      </a:lnTo>
                      <a:lnTo>
                        <a:pt x="92" y="50"/>
                      </a:lnTo>
                      <a:lnTo>
                        <a:pt x="92" y="50"/>
                      </a:lnTo>
                      <a:lnTo>
                        <a:pt x="92" y="50"/>
                      </a:lnTo>
                      <a:lnTo>
                        <a:pt x="92" y="48"/>
                      </a:lnTo>
                      <a:lnTo>
                        <a:pt x="92" y="48"/>
                      </a:lnTo>
                      <a:lnTo>
                        <a:pt x="92" y="48"/>
                      </a:lnTo>
                      <a:close/>
                      <a:moveTo>
                        <a:pt x="103" y="48"/>
                      </a:moveTo>
                      <a:lnTo>
                        <a:pt x="103" y="48"/>
                      </a:lnTo>
                      <a:lnTo>
                        <a:pt x="102" y="48"/>
                      </a:lnTo>
                      <a:lnTo>
                        <a:pt x="101" y="50"/>
                      </a:lnTo>
                      <a:lnTo>
                        <a:pt x="110" y="51"/>
                      </a:lnTo>
                      <a:lnTo>
                        <a:pt x="110" y="51"/>
                      </a:lnTo>
                      <a:lnTo>
                        <a:pt x="110" y="50"/>
                      </a:lnTo>
                      <a:lnTo>
                        <a:pt x="110" y="50"/>
                      </a:lnTo>
                      <a:lnTo>
                        <a:pt x="110" y="50"/>
                      </a:lnTo>
                      <a:lnTo>
                        <a:pt x="103" y="48"/>
                      </a:lnTo>
                      <a:lnTo>
                        <a:pt x="103" y="48"/>
                      </a:lnTo>
                      <a:lnTo>
                        <a:pt x="103" y="48"/>
                      </a:lnTo>
                      <a:close/>
                      <a:moveTo>
                        <a:pt x="101" y="50"/>
                      </a:moveTo>
                      <a:lnTo>
                        <a:pt x="101" y="50"/>
                      </a:lnTo>
                      <a:lnTo>
                        <a:pt x="102" y="51"/>
                      </a:lnTo>
                      <a:lnTo>
                        <a:pt x="103" y="53"/>
                      </a:lnTo>
                      <a:lnTo>
                        <a:pt x="109" y="53"/>
                      </a:lnTo>
                      <a:lnTo>
                        <a:pt x="109" y="53"/>
                      </a:lnTo>
                      <a:lnTo>
                        <a:pt x="110" y="53"/>
                      </a:lnTo>
                      <a:lnTo>
                        <a:pt x="110" y="53"/>
                      </a:lnTo>
                      <a:lnTo>
                        <a:pt x="110" y="53"/>
                      </a:lnTo>
                      <a:lnTo>
                        <a:pt x="101" y="50"/>
                      </a:lnTo>
                      <a:lnTo>
                        <a:pt x="101" y="50"/>
                      </a:lnTo>
                      <a:lnTo>
                        <a:pt x="101" y="50"/>
                      </a:lnTo>
                      <a:close/>
                      <a:moveTo>
                        <a:pt x="111" y="53"/>
                      </a:moveTo>
                      <a:lnTo>
                        <a:pt x="111" y="53"/>
                      </a:lnTo>
                      <a:lnTo>
                        <a:pt x="111" y="53"/>
                      </a:lnTo>
                      <a:lnTo>
                        <a:pt x="111" y="53"/>
                      </a:lnTo>
                      <a:lnTo>
                        <a:pt x="111" y="53"/>
                      </a:lnTo>
                      <a:lnTo>
                        <a:pt x="111" y="53"/>
                      </a:lnTo>
                      <a:lnTo>
                        <a:pt x="111" y="53"/>
                      </a:lnTo>
                      <a:lnTo>
                        <a:pt x="111" y="53"/>
                      </a:lnTo>
                      <a:close/>
                      <a:moveTo>
                        <a:pt x="111" y="51"/>
                      </a:moveTo>
                      <a:lnTo>
                        <a:pt x="111" y="51"/>
                      </a:lnTo>
                      <a:lnTo>
                        <a:pt x="111" y="51"/>
                      </a:lnTo>
                      <a:lnTo>
                        <a:pt x="111" y="51"/>
                      </a:lnTo>
                      <a:lnTo>
                        <a:pt x="111" y="51"/>
                      </a:lnTo>
                      <a:lnTo>
                        <a:pt x="111" y="51"/>
                      </a:lnTo>
                      <a:lnTo>
                        <a:pt x="111" y="51"/>
                      </a:lnTo>
                      <a:lnTo>
                        <a:pt x="111" y="51"/>
                      </a:lnTo>
                      <a:close/>
                      <a:moveTo>
                        <a:pt x="111" y="51"/>
                      </a:moveTo>
                      <a:lnTo>
                        <a:pt x="111" y="51"/>
                      </a:lnTo>
                      <a:lnTo>
                        <a:pt x="111" y="51"/>
                      </a:lnTo>
                      <a:lnTo>
                        <a:pt x="111" y="51"/>
                      </a:lnTo>
                      <a:lnTo>
                        <a:pt x="110" y="50"/>
                      </a:lnTo>
                      <a:lnTo>
                        <a:pt x="110" y="50"/>
                      </a:lnTo>
                      <a:lnTo>
                        <a:pt x="110" y="51"/>
                      </a:lnTo>
                      <a:lnTo>
                        <a:pt x="111" y="51"/>
                      </a:lnTo>
                      <a:lnTo>
                        <a:pt x="111" y="51"/>
                      </a:lnTo>
                      <a:lnTo>
                        <a:pt x="111" y="51"/>
                      </a:lnTo>
                      <a:close/>
                      <a:moveTo>
                        <a:pt x="110" y="53"/>
                      </a:moveTo>
                      <a:lnTo>
                        <a:pt x="110" y="53"/>
                      </a:lnTo>
                      <a:lnTo>
                        <a:pt x="110" y="53"/>
                      </a:lnTo>
                      <a:lnTo>
                        <a:pt x="110" y="53"/>
                      </a:lnTo>
                      <a:lnTo>
                        <a:pt x="111" y="53"/>
                      </a:lnTo>
                      <a:lnTo>
                        <a:pt x="111" y="53"/>
                      </a:lnTo>
                      <a:lnTo>
                        <a:pt x="111" y="53"/>
                      </a:lnTo>
                      <a:lnTo>
                        <a:pt x="110" y="53"/>
                      </a:lnTo>
                      <a:lnTo>
                        <a:pt x="110" y="53"/>
                      </a:lnTo>
                      <a:lnTo>
                        <a:pt x="110" y="53"/>
                      </a:lnTo>
                      <a:close/>
                      <a:moveTo>
                        <a:pt x="110" y="51"/>
                      </a:moveTo>
                      <a:lnTo>
                        <a:pt x="110" y="51"/>
                      </a:lnTo>
                      <a:lnTo>
                        <a:pt x="110" y="51"/>
                      </a:lnTo>
                      <a:lnTo>
                        <a:pt x="101" y="50"/>
                      </a:lnTo>
                      <a:lnTo>
                        <a:pt x="101" y="50"/>
                      </a:lnTo>
                      <a:lnTo>
                        <a:pt x="101" y="50"/>
                      </a:lnTo>
                      <a:lnTo>
                        <a:pt x="101" y="50"/>
                      </a:lnTo>
                      <a:lnTo>
                        <a:pt x="101" y="50"/>
                      </a:lnTo>
                      <a:lnTo>
                        <a:pt x="110" y="53"/>
                      </a:lnTo>
                      <a:lnTo>
                        <a:pt x="110" y="53"/>
                      </a:lnTo>
                      <a:lnTo>
                        <a:pt x="110" y="51"/>
                      </a:lnTo>
                      <a:lnTo>
                        <a:pt x="110" y="51"/>
                      </a:lnTo>
                      <a:lnTo>
                        <a:pt x="110" y="51"/>
                      </a:lnTo>
                      <a:close/>
                      <a:moveTo>
                        <a:pt x="111" y="53"/>
                      </a:moveTo>
                      <a:lnTo>
                        <a:pt x="111" y="53"/>
                      </a:lnTo>
                      <a:lnTo>
                        <a:pt x="111" y="53"/>
                      </a:lnTo>
                      <a:lnTo>
                        <a:pt x="111" y="53"/>
                      </a:lnTo>
                      <a:lnTo>
                        <a:pt x="111" y="53"/>
                      </a:lnTo>
                      <a:lnTo>
                        <a:pt x="111" y="53"/>
                      </a:lnTo>
                      <a:lnTo>
                        <a:pt x="111" y="53"/>
                      </a:lnTo>
                      <a:lnTo>
                        <a:pt x="111" y="51"/>
                      </a:lnTo>
                      <a:lnTo>
                        <a:pt x="111" y="51"/>
                      </a:lnTo>
                      <a:lnTo>
                        <a:pt x="111" y="51"/>
                      </a:lnTo>
                      <a:lnTo>
                        <a:pt x="111" y="53"/>
                      </a:lnTo>
                      <a:lnTo>
                        <a:pt x="111" y="53"/>
                      </a:lnTo>
                      <a:lnTo>
                        <a:pt x="111" y="53"/>
                      </a:lnTo>
                      <a:close/>
                      <a:moveTo>
                        <a:pt x="110" y="53"/>
                      </a:moveTo>
                      <a:lnTo>
                        <a:pt x="111" y="53"/>
                      </a:lnTo>
                      <a:lnTo>
                        <a:pt x="111" y="53"/>
                      </a:lnTo>
                      <a:lnTo>
                        <a:pt x="111" y="53"/>
                      </a:lnTo>
                      <a:lnTo>
                        <a:pt x="111" y="53"/>
                      </a:lnTo>
                      <a:lnTo>
                        <a:pt x="111" y="51"/>
                      </a:lnTo>
                      <a:lnTo>
                        <a:pt x="110" y="51"/>
                      </a:lnTo>
                      <a:lnTo>
                        <a:pt x="110" y="51"/>
                      </a:lnTo>
                      <a:lnTo>
                        <a:pt x="110" y="51"/>
                      </a:lnTo>
                      <a:lnTo>
                        <a:pt x="110" y="51"/>
                      </a:lnTo>
                      <a:lnTo>
                        <a:pt x="110" y="53"/>
                      </a:lnTo>
                      <a:lnTo>
                        <a:pt x="110" y="53"/>
                      </a:lnTo>
                      <a:lnTo>
                        <a:pt x="110" y="53"/>
                      </a:lnTo>
                      <a:close/>
                      <a:moveTo>
                        <a:pt x="80" y="91"/>
                      </a:moveTo>
                      <a:lnTo>
                        <a:pt x="80" y="91"/>
                      </a:lnTo>
                      <a:lnTo>
                        <a:pt x="82" y="97"/>
                      </a:lnTo>
                      <a:lnTo>
                        <a:pt x="80" y="103"/>
                      </a:lnTo>
                      <a:lnTo>
                        <a:pt x="76" y="108"/>
                      </a:lnTo>
                      <a:lnTo>
                        <a:pt x="71" y="111"/>
                      </a:lnTo>
                      <a:lnTo>
                        <a:pt x="71" y="111"/>
                      </a:lnTo>
                      <a:lnTo>
                        <a:pt x="65" y="112"/>
                      </a:lnTo>
                      <a:lnTo>
                        <a:pt x="59" y="110"/>
                      </a:lnTo>
                      <a:lnTo>
                        <a:pt x="55" y="106"/>
                      </a:lnTo>
                      <a:lnTo>
                        <a:pt x="51" y="102"/>
                      </a:lnTo>
                      <a:lnTo>
                        <a:pt x="51" y="102"/>
                      </a:lnTo>
                      <a:lnTo>
                        <a:pt x="51" y="102"/>
                      </a:lnTo>
                      <a:lnTo>
                        <a:pt x="50" y="102"/>
                      </a:lnTo>
                      <a:lnTo>
                        <a:pt x="50" y="102"/>
                      </a:lnTo>
                      <a:lnTo>
                        <a:pt x="54" y="108"/>
                      </a:lnTo>
                      <a:lnTo>
                        <a:pt x="59" y="112"/>
                      </a:lnTo>
                      <a:lnTo>
                        <a:pt x="65" y="114"/>
                      </a:lnTo>
                      <a:lnTo>
                        <a:pt x="73" y="112"/>
                      </a:lnTo>
                      <a:lnTo>
                        <a:pt x="73" y="112"/>
                      </a:lnTo>
                      <a:lnTo>
                        <a:pt x="74" y="111"/>
                      </a:lnTo>
                      <a:lnTo>
                        <a:pt x="74" y="111"/>
                      </a:lnTo>
                      <a:lnTo>
                        <a:pt x="80" y="108"/>
                      </a:lnTo>
                      <a:lnTo>
                        <a:pt x="82" y="103"/>
                      </a:lnTo>
                      <a:lnTo>
                        <a:pt x="83" y="99"/>
                      </a:lnTo>
                      <a:lnTo>
                        <a:pt x="83" y="93"/>
                      </a:lnTo>
                      <a:lnTo>
                        <a:pt x="83" y="93"/>
                      </a:lnTo>
                      <a:lnTo>
                        <a:pt x="80" y="91"/>
                      </a:lnTo>
                      <a:lnTo>
                        <a:pt x="80" y="91"/>
                      </a:lnTo>
                      <a:lnTo>
                        <a:pt x="80" y="91"/>
                      </a:lnTo>
                      <a:lnTo>
                        <a:pt x="80" y="91"/>
                      </a:lnTo>
                      <a:close/>
                      <a:moveTo>
                        <a:pt x="41" y="84"/>
                      </a:moveTo>
                      <a:lnTo>
                        <a:pt x="41" y="84"/>
                      </a:lnTo>
                      <a:lnTo>
                        <a:pt x="43" y="82"/>
                      </a:lnTo>
                      <a:lnTo>
                        <a:pt x="44" y="80"/>
                      </a:lnTo>
                      <a:lnTo>
                        <a:pt x="44" y="80"/>
                      </a:lnTo>
                      <a:lnTo>
                        <a:pt x="46" y="80"/>
                      </a:lnTo>
                      <a:lnTo>
                        <a:pt x="49" y="83"/>
                      </a:lnTo>
                      <a:lnTo>
                        <a:pt x="49" y="83"/>
                      </a:lnTo>
                      <a:lnTo>
                        <a:pt x="49" y="83"/>
                      </a:lnTo>
                      <a:lnTo>
                        <a:pt x="59" y="78"/>
                      </a:lnTo>
                      <a:lnTo>
                        <a:pt x="55" y="63"/>
                      </a:lnTo>
                      <a:lnTo>
                        <a:pt x="55" y="63"/>
                      </a:lnTo>
                      <a:lnTo>
                        <a:pt x="53" y="59"/>
                      </a:lnTo>
                      <a:lnTo>
                        <a:pt x="49" y="55"/>
                      </a:lnTo>
                      <a:lnTo>
                        <a:pt x="43" y="53"/>
                      </a:lnTo>
                      <a:lnTo>
                        <a:pt x="37" y="53"/>
                      </a:lnTo>
                      <a:lnTo>
                        <a:pt x="36" y="55"/>
                      </a:lnTo>
                      <a:lnTo>
                        <a:pt x="36" y="55"/>
                      </a:lnTo>
                      <a:lnTo>
                        <a:pt x="30" y="57"/>
                      </a:lnTo>
                      <a:lnTo>
                        <a:pt x="26" y="62"/>
                      </a:lnTo>
                      <a:lnTo>
                        <a:pt x="25" y="67"/>
                      </a:lnTo>
                      <a:lnTo>
                        <a:pt x="26" y="72"/>
                      </a:lnTo>
                      <a:lnTo>
                        <a:pt x="30" y="87"/>
                      </a:lnTo>
                      <a:lnTo>
                        <a:pt x="30" y="87"/>
                      </a:lnTo>
                      <a:lnTo>
                        <a:pt x="41" y="84"/>
                      </a:lnTo>
                      <a:lnTo>
                        <a:pt x="41" y="84"/>
                      </a:lnTo>
                      <a:lnTo>
                        <a:pt x="41" y="84"/>
                      </a:lnTo>
                      <a:lnTo>
                        <a:pt x="41" y="84"/>
                      </a:lnTo>
                      <a:close/>
                      <a:moveTo>
                        <a:pt x="45" y="95"/>
                      </a:moveTo>
                      <a:lnTo>
                        <a:pt x="43" y="86"/>
                      </a:lnTo>
                      <a:lnTo>
                        <a:pt x="43" y="86"/>
                      </a:lnTo>
                      <a:lnTo>
                        <a:pt x="31" y="89"/>
                      </a:lnTo>
                      <a:lnTo>
                        <a:pt x="32" y="92"/>
                      </a:lnTo>
                      <a:lnTo>
                        <a:pt x="32" y="92"/>
                      </a:lnTo>
                      <a:lnTo>
                        <a:pt x="35" y="99"/>
                      </a:lnTo>
                      <a:lnTo>
                        <a:pt x="39" y="101"/>
                      </a:lnTo>
                      <a:lnTo>
                        <a:pt x="44" y="103"/>
                      </a:lnTo>
                      <a:lnTo>
                        <a:pt x="50" y="102"/>
                      </a:lnTo>
                      <a:lnTo>
                        <a:pt x="50" y="102"/>
                      </a:lnTo>
                      <a:lnTo>
                        <a:pt x="49" y="97"/>
                      </a:lnTo>
                      <a:lnTo>
                        <a:pt x="49" y="97"/>
                      </a:lnTo>
                      <a:lnTo>
                        <a:pt x="46" y="96"/>
                      </a:lnTo>
                      <a:lnTo>
                        <a:pt x="45" y="95"/>
                      </a:lnTo>
                      <a:lnTo>
                        <a:pt x="45" y="95"/>
                      </a:lnTo>
                      <a:lnTo>
                        <a:pt x="45" y="95"/>
                      </a:lnTo>
                      <a:close/>
                      <a:moveTo>
                        <a:pt x="51" y="92"/>
                      </a:moveTo>
                      <a:lnTo>
                        <a:pt x="51" y="92"/>
                      </a:lnTo>
                      <a:lnTo>
                        <a:pt x="51" y="95"/>
                      </a:lnTo>
                      <a:lnTo>
                        <a:pt x="50" y="97"/>
                      </a:lnTo>
                      <a:lnTo>
                        <a:pt x="51" y="102"/>
                      </a:lnTo>
                      <a:lnTo>
                        <a:pt x="51" y="102"/>
                      </a:lnTo>
                      <a:lnTo>
                        <a:pt x="51" y="102"/>
                      </a:lnTo>
                      <a:lnTo>
                        <a:pt x="51" y="102"/>
                      </a:lnTo>
                      <a:lnTo>
                        <a:pt x="53" y="102"/>
                      </a:lnTo>
                      <a:lnTo>
                        <a:pt x="53" y="102"/>
                      </a:lnTo>
                      <a:lnTo>
                        <a:pt x="57" y="99"/>
                      </a:lnTo>
                      <a:lnTo>
                        <a:pt x="61" y="95"/>
                      </a:lnTo>
                      <a:lnTo>
                        <a:pt x="62" y="90"/>
                      </a:lnTo>
                      <a:lnTo>
                        <a:pt x="62" y="84"/>
                      </a:lnTo>
                      <a:lnTo>
                        <a:pt x="61" y="80"/>
                      </a:lnTo>
                      <a:lnTo>
                        <a:pt x="61" y="80"/>
                      </a:lnTo>
                      <a:lnTo>
                        <a:pt x="49" y="84"/>
                      </a:lnTo>
                      <a:lnTo>
                        <a:pt x="51" y="92"/>
                      </a:lnTo>
                      <a:lnTo>
                        <a:pt x="51" y="92"/>
                      </a:lnTo>
                      <a:lnTo>
                        <a:pt x="51" y="92"/>
                      </a:lnTo>
                      <a:close/>
                      <a:moveTo>
                        <a:pt x="51" y="102"/>
                      </a:moveTo>
                      <a:lnTo>
                        <a:pt x="51" y="102"/>
                      </a:lnTo>
                      <a:lnTo>
                        <a:pt x="51" y="102"/>
                      </a:lnTo>
                      <a:lnTo>
                        <a:pt x="51" y="102"/>
                      </a:lnTo>
                      <a:lnTo>
                        <a:pt x="51" y="102"/>
                      </a:lnTo>
                      <a:lnTo>
                        <a:pt x="51" y="102"/>
                      </a:lnTo>
                      <a:lnTo>
                        <a:pt x="51" y="102"/>
                      </a:lnTo>
                      <a:lnTo>
                        <a:pt x="51" y="102"/>
                      </a:lnTo>
                      <a:close/>
                      <a:moveTo>
                        <a:pt x="45" y="83"/>
                      </a:moveTo>
                      <a:lnTo>
                        <a:pt x="45" y="83"/>
                      </a:lnTo>
                      <a:lnTo>
                        <a:pt x="45" y="83"/>
                      </a:lnTo>
                      <a:lnTo>
                        <a:pt x="45" y="83"/>
                      </a:lnTo>
                      <a:lnTo>
                        <a:pt x="45" y="83"/>
                      </a:lnTo>
                      <a:lnTo>
                        <a:pt x="45" y="83"/>
                      </a:lnTo>
                      <a:lnTo>
                        <a:pt x="45" y="83"/>
                      </a:lnTo>
                      <a:close/>
                      <a:moveTo>
                        <a:pt x="45" y="84"/>
                      </a:moveTo>
                      <a:lnTo>
                        <a:pt x="45" y="84"/>
                      </a:lnTo>
                      <a:lnTo>
                        <a:pt x="44" y="84"/>
                      </a:lnTo>
                      <a:lnTo>
                        <a:pt x="44" y="84"/>
                      </a:lnTo>
                      <a:lnTo>
                        <a:pt x="45" y="84"/>
                      </a:lnTo>
                      <a:lnTo>
                        <a:pt x="45" y="84"/>
                      </a:lnTo>
                      <a:lnTo>
                        <a:pt x="45" y="84"/>
                      </a:lnTo>
                      <a:lnTo>
                        <a:pt x="45" y="84"/>
                      </a:lnTo>
                      <a:close/>
                      <a:moveTo>
                        <a:pt x="46" y="83"/>
                      </a:moveTo>
                      <a:lnTo>
                        <a:pt x="46" y="83"/>
                      </a:lnTo>
                      <a:lnTo>
                        <a:pt x="45" y="83"/>
                      </a:lnTo>
                      <a:lnTo>
                        <a:pt x="46" y="84"/>
                      </a:lnTo>
                      <a:lnTo>
                        <a:pt x="46" y="84"/>
                      </a:lnTo>
                      <a:lnTo>
                        <a:pt x="46" y="83"/>
                      </a:lnTo>
                      <a:lnTo>
                        <a:pt x="46" y="83"/>
                      </a:lnTo>
                      <a:lnTo>
                        <a:pt x="46" y="83"/>
                      </a:lnTo>
                      <a:close/>
                      <a:moveTo>
                        <a:pt x="44" y="86"/>
                      </a:moveTo>
                      <a:lnTo>
                        <a:pt x="44" y="86"/>
                      </a:lnTo>
                      <a:lnTo>
                        <a:pt x="44" y="86"/>
                      </a:lnTo>
                      <a:lnTo>
                        <a:pt x="45" y="92"/>
                      </a:lnTo>
                      <a:lnTo>
                        <a:pt x="45" y="92"/>
                      </a:lnTo>
                      <a:lnTo>
                        <a:pt x="46" y="93"/>
                      </a:lnTo>
                      <a:lnTo>
                        <a:pt x="48" y="93"/>
                      </a:lnTo>
                      <a:lnTo>
                        <a:pt x="45" y="86"/>
                      </a:lnTo>
                      <a:lnTo>
                        <a:pt x="45" y="86"/>
                      </a:lnTo>
                      <a:lnTo>
                        <a:pt x="44" y="86"/>
                      </a:lnTo>
                      <a:lnTo>
                        <a:pt x="44" y="86"/>
                      </a:lnTo>
                      <a:lnTo>
                        <a:pt x="44" y="86"/>
                      </a:lnTo>
                      <a:close/>
                      <a:moveTo>
                        <a:pt x="49" y="93"/>
                      </a:moveTo>
                      <a:lnTo>
                        <a:pt x="49" y="93"/>
                      </a:lnTo>
                      <a:lnTo>
                        <a:pt x="50" y="92"/>
                      </a:lnTo>
                      <a:lnTo>
                        <a:pt x="50" y="91"/>
                      </a:lnTo>
                      <a:lnTo>
                        <a:pt x="48" y="86"/>
                      </a:lnTo>
                      <a:lnTo>
                        <a:pt x="48" y="86"/>
                      </a:lnTo>
                      <a:lnTo>
                        <a:pt x="48" y="84"/>
                      </a:lnTo>
                      <a:lnTo>
                        <a:pt x="48" y="84"/>
                      </a:lnTo>
                      <a:lnTo>
                        <a:pt x="46" y="86"/>
                      </a:lnTo>
                      <a:lnTo>
                        <a:pt x="49" y="93"/>
                      </a:lnTo>
                      <a:lnTo>
                        <a:pt x="49" y="93"/>
                      </a:lnTo>
                      <a:lnTo>
                        <a:pt x="49" y="93"/>
                      </a:lnTo>
                      <a:close/>
                      <a:moveTo>
                        <a:pt x="45" y="84"/>
                      </a:moveTo>
                      <a:lnTo>
                        <a:pt x="45" y="84"/>
                      </a:lnTo>
                      <a:lnTo>
                        <a:pt x="44" y="84"/>
                      </a:lnTo>
                      <a:lnTo>
                        <a:pt x="44" y="84"/>
                      </a:lnTo>
                      <a:lnTo>
                        <a:pt x="44" y="86"/>
                      </a:lnTo>
                      <a:lnTo>
                        <a:pt x="44" y="86"/>
                      </a:lnTo>
                      <a:lnTo>
                        <a:pt x="45" y="86"/>
                      </a:lnTo>
                      <a:lnTo>
                        <a:pt x="45" y="84"/>
                      </a:lnTo>
                      <a:lnTo>
                        <a:pt x="45" y="84"/>
                      </a:lnTo>
                      <a:lnTo>
                        <a:pt x="45" y="84"/>
                      </a:lnTo>
                      <a:close/>
                      <a:moveTo>
                        <a:pt x="46" y="84"/>
                      </a:moveTo>
                      <a:lnTo>
                        <a:pt x="46" y="86"/>
                      </a:lnTo>
                      <a:lnTo>
                        <a:pt x="46" y="86"/>
                      </a:lnTo>
                      <a:lnTo>
                        <a:pt x="48" y="84"/>
                      </a:lnTo>
                      <a:lnTo>
                        <a:pt x="48" y="84"/>
                      </a:lnTo>
                      <a:lnTo>
                        <a:pt x="46" y="83"/>
                      </a:lnTo>
                      <a:lnTo>
                        <a:pt x="46" y="83"/>
                      </a:lnTo>
                      <a:lnTo>
                        <a:pt x="46" y="84"/>
                      </a:lnTo>
                      <a:lnTo>
                        <a:pt x="46" y="84"/>
                      </a:lnTo>
                      <a:lnTo>
                        <a:pt x="46" y="84"/>
                      </a:lnTo>
                      <a:close/>
                      <a:moveTo>
                        <a:pt x="45" y="84"/>
                      </a:moveTo>
                      <a:lnTo>
                        <a:pt x="45" y="84"/>
                      </a:lnTo>
                      <a:lnTo>
                        <a:pt x="46" y="84"/>
                      </a:lnTo>
                      <a:lnTo>
                        <a:pt x="45" y="83"/>
                      </a:lnTo>
                      <a:lnTo>
                        <a:pt x="45" y="83"/>
                      </a:lnTo>
                      <a:lnTo>
                        <a:pt x="45" y="83"/>
                      </a:lnTo>
                      <a:lnTo>
                        <a:pt x="45" y="83"/>
                      </a:lnTo>
                      <a:lnTo>
                        <a:pt x="45" y="83"/>
                      </a:lnTo>
                      <a:lnTo>
                        <a:pt x="45" y="84"/>
                      </a:lnTo>
                      <a:lnTo>
                        <a:pt x="45" y="84"/>
                      </a:lnTo>
                      <a:lnTo>
                        <a:pt x="45" y="84"/>
                      </a:lnTo>
                      <a:lnTo>
                        <a:pt x="45" y="84"/>
                      </a:lnTo>
                      <a:lnTo>
                        <a:pt x="45" y="84"/>
                      </a:lnTo>
                      <a:lnTo>
                        <a:pt x="45" y="84"/>
                      </a:lnTo>
                      <a:close/>
                      <a:moveTo>
                        <a:pt x="45" y="86"/>
                      </a:moveTo>
                      <a:lnTo>
                        <a:pt x="45" y="86"/>
                      </a:lnTo>
                      <a:lnTo>
                        <a:pt x="45" y="86"/>
                      </a:lnTo>
                      <a:lnTo>
                        <a:pt x="48" y="93"/>
                      </a:lnTo>
                      <a:lnTo>
                        <a:pt x="48" y="93"/>
                      </a:lnTo>
                      <a:lnTo>
                        <a:pt x="49" y="93"/>
                      </a:lnTo>
                      <a:lnTo>
                        <a:pt x="49" y="93"/>
                      </a:lnTo>
                      <a:lnTo>
                        <a:pt x="49" y="93"/>
                      </a:lnTo>
                      <a:lnTo>
                        <a:pt x="46" y="86"/>
                      </a:lnTo>
                      <a:lnTo>
                        <a:pt x="46" y="86"/>
                      </a:lnTo>
                      <a:lnTo>
                        <a:pt x="45" y="86"/>
                      </a:lnTo>
                      <a:lnTo>
                        <a:pt x="45" y="86"/>
                      </a:lnTo>
                      <a:lnTo>
                        <a:pt x="45" y="86"/>
                      </a:lnTo>
                      <a:close/>
                      <a:moveTo>
                        <a:pt x="45" y="84"/>
                      </a:moveTo>
                      <a:lnTo>
                        <a:pt x="45" y="86"/>
                      </a:lnTo>
                      <a:lnTo>
                        <a:pt x="45" y="86"/>
                      </a:lnTo>
                      <a:lnTo>
                        <a:pt x="45" y="86"/>
                      </a:lnTo>
                      <a:lnTo>
                        <a:pt x="45" y="86"/>
                      </a:lnTo>
                      <a:lnTo>
                        <a:pt x="46" y="86"/>
                      </a:lnTo>
                      <a:lnTo>
                        <a:pt x="46" y="84"/>
                      </a:lnTo>
                      <a:lnTo>
                        <a:pt x="46" y="84"/>
                      </a:lnTo>
                      <a:lnTo>
                        <a:pt x="45" y="84"/>
                      </a:lnTo>
                      <a:lnTo>
                        <a:pt x="45" y="84"/>
                      </a:lnTo>
                      <a:lnTo>
                        <a:pt x="45" y="84"/>
                      </a:lnTo>
                      <a:lnTo>
                        <a:pt x="45" y="84"/>
                      </a:lnTo>
                      <a:lnTo>
                        <a:pt x="45" y="84"/>
                      </a:lnTo>
                      <a:close/>
                      <a:moveTo>
                        <a:pt x="95" y="90"/>
                      </a:moveTo>
                      <a:lnTo>
                        <a:pt x="95" y="90"/>
                      </a:lnTo>
                      <a:lnTo>
                        <a:pt x="99" y="86"/>
                      </a:lnTo>
                      <a:lnTo>
                        <a:pt x="105" y="86"/>
                      </a:lnTo>
                      <a:lnTo>
                        <a:pt x="111" y="86"/>
                      </a:lnTo>
                      <a:lnTo>
                        <a:pt x="117" y="89"/>
                      </a:lnTo>
                      <a:lnTo>
                        <a:pt x="117" y="89"/>
                      </a:lnTo>
                      <a:lnTo>
                        <a:pt x="120" y="93"/>
                      </a:lnTo>
                      <a:lnTo>
                        <a:pt x="122" y="99"/>
                      </a:lnTo>
                      <a:lnTo>
                        <a:pt x="122" y="105"/>
                      </a:lnTo>
                      <a:lnTo>
                        <a:pt x="118" y="110"/>
                      </a:lnTo>
                      <a:lnTo>
                        <a:pt x="118" y="110"/>
                      </a:lnTo>
                      <a:lnTo>
                        <a:pt x="118" y="110"/>
                      </a:lnTo>
                      <a:lnTo>
                        <a:pt x="118" y="111"/>
                      </a:lnTo>
                      <a:lnTo>
                        <a:pt x="120" y="111"/>
                      </a:lnTo>
                      <a:lnTo>
                        <a:pt x="120" y="111"/>
                      </a:lnTo>
                      <a:lnTo>
                        <a:pt x="123" y="105"/>
                      </a:lnTo>
                      <a:lnTo>
                        <a:pt x="123" y="99"/>
                      </a:lnTo>
                      <a:lnTo>
                        <a:pt x="122" y="92"/>
                      </a:lnTo>
                      <a:lnTo>
                        <a:pt x="117" y="87"/>
                      </a:lnTo>
                      <a:lnTo>
                        <a:pt x="117" y="87"/>
                      </a:lnTo>
                      <a:lnTo>
                        <a:pt x="112" y="84"/>
                      </a:lnTo>
                      <a:lnTo>
                        <a:pt x="107" y="83"/>
                      </a:lnTo>
                      <a:lnTo>
                        <a:pt x="101" y="84"/>
                      </a:lnTo>
                      <a:lnTo>
                        <a:pt x="95" y="87"/>
                      </a:lnTo>
                      <a:lnTo>
                        <a:pt x="95" y="87"/>
                      </a:lnTo>
                      <a:lnTo>
                        <a:pt x="95" y="90"/>
                      </a:lnTo>
                      <a:lnTo>
                        <a:pt x="95" y="90"/>
                      </a:lnTo>
                      <a:lnTo>
                        <a:pt x="95" y="90"/>
                      </a:lnTo>
                      <a:close/>
                      <a:moveTo>
                        <a:pt x="116" y="115"/>
                      </a:moveTo>
                      <a:lnTo>
                        <a:pt x="116" y="115"/>
                      </a:lnTo>
                      <a:lnTo>
                        <a:pt x="116" y="117"/>
                      </a:lnTo>
                      <a:lnTo>
                        <a:pt x="114" y="120"/>
                      </a:lnTo>
                      <a:lnTo>
                        <a:pt x="109" y="126"/>
                      </a:lnTo>
                      <a:lnTo>
                        <a:pt x="109" y="126"/>
                      </a:lnTo>
                      <a:lnTo>
                        <a:pt x="117" y="135"/>
                      </a:lnTo>
                      <a:lnTo>
                        <a:pt x="120" y="131"/>
                      </a:lnTo>
                      <a:lnTo>
                        <a:pt x="120" y="131"/>
                      </a:lnTo>
                      <a:lnTo>
                        <a:pt x="123" y="126"/>
                      </a:lnTo>
                      <a:lnTo>
                        <a:pt x="124" y="122"/>
                      </a:lnTo>
                      <a:lnTo>
                        <a:pt x="123" y="116"/>
                      </a:lnTo>
                      <a:lnTo>
                        <a:pt x="120" y="111"/>
                      </a:lnTo>
                      <a:lnTo>
                        <a:pt x="120" y="111"/>
                      </a:lnTo>
                      <a:lnTo>
                        <a:pt x="120" y="111"/>
                      </a:lnTo>
                      <a:lnTo>
                        <a:pt x="116" y="115"/>
                      </a:lnTo>
                      <a:lnTo>
                        <a:pt x="116" y="115"/>
                      </a:lnTo>
                      <a:lnTo>
                        <a:pt x="116" y="115"/>
                      </a:lnTo>
                      <a:close/>
                      <a:moveTo>
                        <a:pt x="108" y="126"/>
                      </a:moveTo>
                      <a:lnTo>
                        <a:pt x="108" y="126"/>
                      </a:lnTo>
                      <a:lnTo>
                        <a:pt x="105" y="127"/>
                      </a:lnTo>
                      <a:lnTo>
                        <a:pt x="103" y="127"/>
                      </a:lnTo>
                      <a:lnTo>
                        <a:pt x="103" y="127"/>
                      </a:lnTo>
                      <a:lnTo>
                        <a:pt x="103" y="125"/>
                      </a:lnTo>
                      <a:lnTo>
                        <a:pt x="103" y="123"/>
                      </a:lnTo>
                      <a:lnTo>
                        <a:pt x="103" y="123"/>
                      </a:lnTo>
                      <a:lnTo>
                        <a:pt x="103" y="123"/>
                      </a:lnTo>
                      <a:lnTo>
                        <a:pt x="93" y="115"/>
                      </a:lnTo>
                      <a:lnTo>
                        <a:pt x="83" y="126"/>
                      </a:lnTo>
                      <a:lnTo>
                        <a:pt x="83" y="126"/>
                      </a:lnTo>
                      <a:lnTo>
                        <a:pt x="80" y="131"/>
                      </a:lnTo>
                      <a:lnTo>
                        <a:pt x="80" y="137"/>
                      </a:lnTo>
                      <a:lnTo>
                        <a:pt x="80" y="141"/>
                      </a:lnTo>
                      <a:lnTo>
                        <a:pt x="84" y="146"/>
                      </a:lnTo>
                      <a:lnTo>
                        <a:pt x="86" y="148"/>
                      </a:lnTo>
                      <a:lnTo>
                        <a:pt x="86" y="148"/>
                      </a:lnTo>
                      <a:lnTo>
                        <a:pt x="90" y="151"/>
                      </a:lnTo>
                      <a:lnTo>
                        <a:pt x="95" y="151"/>
                      </a:lnTo>
                      <a:lnTo>
                        <a:pt x="101" y="150"/>
                      </a:lnTo>
                      <a:lnTo>
                        <a:pt x="105" y="148"/>
                      </a:lnTo>
                      <a:lnTo>
                        <a:pt x="116" y="136"/>
                      </a:lnTo>
                      <a:lnTo>
                        <a:pt x="116" y="136"/>
                      </a:lnTo>
                      <a:lnTo>
                        <a:pt x="108" y="126"/>
                      </a:lnTo>
                      <a:lnTo>
                        <a:pt x="108" y="126"/>
                      </a:lnTo>
                      <a:lnTo>
                        <a:pt x="108" y="126"/>
                      </a:lnTo>
                      <a:lnTo>
                        <a:pt x="108" y="126"/>
                      </a:lnTo>
                      <a:close/>
                      <a:moveTo>
                        <a:pt x="110" y="115"/>
                      </a:moveTo>
                      <a:lnTo>
                        <a:pt x="110" y="115"/>
                      </a:lnTo>
                      <a:lnTo>
                        <a:pt x="112" y="114"/>
                      </a:lnTo>
                      <a:lnTo>
                        <a:pt x="114" y="115"/>
                      </a:lnTo>
                      <a:lnTo>
                        <a:pt x="118" y="110"/>
                      </a:lnTo>
                      <a:lnTo>
                        <a:pt x="118" y="110"/>
                      </a:lnTo>
                      <a:lnTo>
                        <a:pt x="118" y="110"/>
                      </a:lnTo>
                      <a:lnTo>
                        <a:pt x="118" y="110"/>
                      </a:lnTo>
                      <a:lnTo>
                        <a:pt x="118" y="110"/>
                      </a:lnTo>
                      <a:lnTo>
                        <a:pt x="118" y="110"/>
                      </a:lnTo>
                      <a:lnTo>
                        <a:pt x="114" y="108"/>
                      </a:lnTo>
                      <a:lnTo>
                        <a:pt x="108" y="106"/>
                      </a:lnTo>
                      <a:lnTo>
                        <a:pt x="103" y="108"/>
                      </a:lnTo>
                      <a:lnTo>
                        <a:pt x="98" y="111"/>
                      </a:lnTo>
                      <a:lnTo>
                        <a:pt x="95" y="114"/>
                      </a:lnTo>
                      <a:lnTo>
                        <a:pt x="95" y="114"/>
                      </a:lnTo>
                      <a:lnTo>
                        <a:pt x="105" y="122"/>
                      </a:lnTo>
                      <a:lnTo>
                        <a:pt x="110" y="115"/>
                      </a:lnTo>
                      <a:lnTo>
                        <a:pt x="110" y="115"/>
                      </a:lnTo>
                      <a:lnTo>
                        <a:pt x="110" y="115"/>
                      </a:lnTo>
                      <a:close/>
                      <a:moveTo>
                        <a:pt x="118" y="110"/>
                      </a:moveTo>
                      <a:lnTo>
                        <a:pt x="118" y="110"/>
                      </a:lnTo>
                      <a:lnTo>
                        <a:pt x="118" y="110"/>
                      </a:lnTo>
                      <a:lnTo>
                        <a:pt x="118" y="110"/>
                      </a:lnTo>
                      <a:lnTo>
                        <a:pt x="118" y="110"/>
                      </a:lnTo>
                      <a:lnTo>
                        <a:pt x="118" y="110"/>
                      </a:lnTo>
                      <a:lnTo>
                        <a:pt x="118" y="110"/>
                      </a:lnTo>
                      <a:lnTo>
                        <a:pt x="118" y="110"/>
                      </a:lnTo>
                      <a:close/>
                      <a:moveTo>
                        <a:pt x="105" y="124"/>
                      </a:moveTo>
                      <a:lnTo>
                        <a:pt x="105" y="124"/>
                      </a:lnTo>
                      <a:lnTo>
                        <a:pt x="105" y="124"/>
                      </a:lnTo>
                      <a:lnTo>
                        <a:pt x="105" y="124"/>
                      </a:lnTo>
                      <a:lnTo>
                        <a:pt x="105" y="124"/>
                      </a:lnTo>
                      <a:lnTo>
                        <a:pt x="105" y="124"/>
                      </a:lnTo>
                      <a:lnTo>
                        <a:pt x="105" y="124"/>
                      </a:lnTo>
                      <a:lnTo>
                        <a:pt x="105" y="124"/>
                      </a:lnTo>
                      <a:close/>
                      <a:moveTo>
                        <a:pt x="105" y="125"/>
                      </a:moveTo>
                      <a:lnTo>
                        <a:pt x="105" y="125"/>
                      </a:lnTo>
                      <a:lnTo>
                        <a:pt x="105" y="125"/>
                      </a:lnTo>
                      <a:lnTo>
                        <a:pt x="105" y="125"/>
                      </a:lnTo>
                      <a:lnTo>
                        <a:pt x="105" y="125"/>
                      </a:lnTo>
                      <a:lnTo>
                        <a:pt x="105" y="125"/>
                      </a:lnTo>
                      <a:lnTo>
                        <a:pt x="105" y="125"/>
                      </a:lnTo>
                      <a:lnTo>
                        <a:pt x="105" y="125"/>
                      </a:lnTo>
                      <a:close/>
                      <a:moveTo>
                        <a:pt x="107" y="125"/>
                      </a:moveTo>
                      <a:lnTo>
                        <a:pt x="107" y="125"/>
                      </a:lnTo>
                      <a:lnTo>
                        <a:pt x="107" y="125"/>
                      </a:lnTo>
                      <a:lnTo>
                        <a:pt x="107" y="125"/>
                      </a:lnTo>
                      <a:lnTo>
                        <a:pt x="107" y="125"/>
                      </a:lnTo>
                      <a:lnTo>
                        <a:pt x="107" y="125"/>
                      </a:lnTo>
                      <a:lnTo>
                        <a:pt x="107" y="125"/>
                      </a:lnTo>
                      <a:lnTo>
                        <a:pt x="107" y="125"/>
                      </a:lnTo>
                      <a:close/>
                      <a:moveTo>
                        <a:pt x="112" y="117"/>
                      </a:moveTo>
                      <a:lnTo>
                        <a:pt x="112" y="117"/>
                      </a:lnTo>
                      <a:lnTo>
                        <a:pt x="111" y="117"/>
                      </a:lnTo>
                      <a:lnTo>
                        <a:pt x="110" y="117"/>
                      </a:lnTo>
                      <a:lnTo>
                        <a:pt x="105" y="122"/>
                      </a:lnTo>
                      <a:lnTo>
                        <a:pt x="105" y="122"/>
                      </a:lnTo>
                      <a:lnTo>
                        <a:pt x="105" y="123"/>
                      </a:lnTo>
                      <a:lnTo>
                        <a:pt x="105" y="123"/>
                      </a:lnTo>
                      <a:lnTo>
                        <a:pt x="107" y="123"/>
                      </a:lnTo>
                      <a:lnTo>
                        <a:pt x="112" y="117"/>
                      </a:lnTo>
                      <a:lnTo>
                        <a:pt x="112" y="117"/>
                      </a:lnTo>
                      <a:lnTo>
                        <a:pt x="112" y="117"/>
                      </a:lnTo>
                      <a:close/>
                      <a:moveTo>
                        <a:pt x="108" y="125"/>
                      </a:moveTo>
                      <a:lnTo>
                        <a:pt x="108" y="125"/>
                      </a:lnTo>
                      <a:lnTo>
                        <a:pt x="109" y="124"/>
                      </a:lnTo>
                      <a:lnTo>
                        <a:pt x="114" y="121"/>
                      </a:lnTo>
                      <a:lnTo>
                        <a:pt x="114" y="121"/>
                      </a:lnTo>
                      <a:lnTo>
                        <a:pt x="114" y="118"/>
                      </a:lnTo>
                      <a:lnTo>
                        <a:pt x="114" y="117"/>
                      </a:lnTo>
                      <a:lnTo>
                        <a:pt x="108" y="124"/>
                      </a:lnTo>
                      <a:lnTo>
                        <a:pt x="108" y="124"/>
                      </a:lnTo>
                      <a:lnTo>
                        <a:pt x="108" y="125"/>
                      </a:lnTo>
                      <a:lnTo>
                        <a:pt x="108" y="125"/>
                      </a:lnTo>
                      <a:lnTo>
                        <a:pt x="108" y="125"/>
                      </a:lnTo>
                      <a:close/>
                      <a:moveTo>
                        <a:pt x="105" y="124"/>
                      </a:moveTo>
                      <a:lnTo>
                        <a:pt x="105" y="124"/>
                      </a:lnTo>
                      <a:lnTo>
                        <a:pt x="105" y="124"/>
                      </a:lnTo>
                      <a:lnTo>
                        <a:pt x="107" y="123"/>
                      </a:lnTo>
                      <a:lnTo>
                        <a:pt x="107" y="123"/>
                      </a:lnTo>
                      <a:lnTo>
                        <a:pt x="105" y="123"/>
                      </a:lnTo>
                      <a:lnTo>
                        <a:pt x="105" y="123"/>
                      </a:lnTo>
                      <a:lnTo>
                        <a:pt x="105" y="124"/>
                      </a:lnTo>
                      <a:lnTo>
                        <a:pt x="105" y="124"/>
                      </a:lnTo>
                      <a:lnTo>
                        <a:pt x="105" y="124"/>
                      </a:lnTo>
                      <a:close/>
                      <a:moveTo>
                        <a:pt x="107" y="125"/>
                      </a:moveTo>
                      <a:lnTo>
                        <a:pt x="107" y="125"/>
                      </a:lnTo>
                      <a:lnTo>
                        <a:pt x="107" y="125"/>
                      </a:lnTo>
                      <a:lnTo>
                        <a:pt x="107" y="125"/>
                      </a:lnTo>
                      <a:lnTo>
                        <a:pt x="108" y="125"/>
                      </a:lnTo>
                      <a:lnTo>
                        <a:pt x="108" y="125"/>
                      </a:lnTo>
                      <a:lnTo>
                        <a:pt x="108" y="124"/>
                      </a:lnTo>
                      <a:lnTo>
                        <a:pt x="107" y="125"/>
                      </a:lnTo>
                      <a:lnTo>
                        <a:pt x="107" y="125"/>
                      </a:lnTo>
                      <a:lnTo>
                        <a:pt x="107" y="125"/>
                      </a:lnTo>
                      <a:close/>
                      <a:moveTo>
                        <a:pt x="107" y="124"/>
                      </a:moveTo>
                      <a:lnTo>
                        <a:pt x="107" y="124"/>
                      </a:lnTo>
                      <a:lnTo>
                        <a:pt x="108" y="124"/>
                      </a:lnTo>
                      <a:lnTo>
                        <a:pt x="114" y="117"/>
                      </a:lnTo>
                      <a:lnTo>
                        <a:pt x="114" y="117"/>
                      </a:lnTo>
                      <a:lnTo>
                        <a:pt x="114" y="117"/>
                      </a:lnTo>
                      <a:lnTo>
                        <a:pt x="114" y="117"/>
                      </a:lnTo>
                      <a:lnTo>
                        <a:pt x="112" y="117"/>
                      </a:lnTo>
                      <a:lnTo>
                        <a:pt x="107" y="123"/>
                      </a:lnTo>
                      <a:lnTo>
                        <a:pt x="107" y="123"/>
                      </a:lnTo>
                      <a:lnTo>
                        <a:pt x="107" y="124"/>
                      </a:lnTo>
                      <a:lnTo>
                        <a:pt x="107" y="124"/>
                      </a:lnTo>
                      <a:lnTo>
                        <a:pt x="107" y="124"/>
                      </a:lnTo>
                      <a:close/>
                      <a:moveTo>
                        <a:pt x="105" y="124"/>
                      </a:moveTo>
                      <a:lnTo>
                        <a:pt x="105" y="124"/>
                      </a:lnTo>
                      <a:lnTo>
                        <a:pt x="105" y="124"/>
                      </a:lnTo>
                      <a:lnTo>
                        <a:pt x="105" y="124"/>
                      </a:lnTo>
                      <a:lnTo>
                        <a:pt x="105" y="124"/>
                      </a:lnTo>
                      <a:lnTo>
                        <a:pt x="105" y="125"/>
                      </a:lnTo>
                      <a:lnTo>
                        <a:pt x="105" y="125"/>
                      </a:lnTo>
                      <a:lnTo>
                        <a:pt x="105" y="125"/>
                      </a:lnTo>
                      <a:lnTo>
                        <a:pt x="107" y="125"/>
                      </a:lnTo>
                      <a:lnTo>
                        <a:pt x="107" y="125"/>
                      </a:lnTo>
                      <a:lnTo>
                        <a:pt x="107" y="125"/>
                      </a:lnTo>
                      <a:lnTo>
                        <a:pt x="105" y="124"/>
                      </a:lnTo>
                      <a:lnTo>
                        <a:pt x="105" y="124"/>
                      </a:lnTo>
                      <a:lnTo>
                        <a:pt x="105" y="124"/>
                      </a:lnTo>
                      <a:close/>
                      <a:moveTo>
                        <a:pt x="107" y="125"/>
                      </a:moveTo>
                      <a:lnTo>
                        <a:pt x="108" y="124"/>
                      </a:lnTo>
                      <a:lnTo>
                        <a:pt x="108" y="124"/>
                      </a:lnTo>
                      <a:lnTo>
                        <a:pt x="107" y="124"/>
                      </a:lnTo>
                      <a:lnTo>
                        <a:pt x="107" y="124"/>
                      </a:lnTo>
                      <a:lnTo>
                        <a:pt x="107" y="123"/>
                      </a:lnTo>
                      <a:lnTo>
                        <a:pt x="105" y="124"/>
                      </a:lnTo>
                      <a:lnTo>
                        <a:pt x="105" y="124"/>
                      </a:lnTo>
                      <a:lnTo>
                        <a:pt x="105" y="124"/>
                      </a:lnTo>
                      <a:lnTo>
                        <a:pt x="105" y="124"/>
                      </a:lnTo>
                      <a:lnTo>
                        <a:pt x="107" y="125"/>
                      </a:lnTo>
                      <a:lnTo>
                        <a:pt x="107" y="125"/>
                      </a:lnTo>
                      <a:lnTo>
                        <a:pt x="107" y="125"/>
                      </a:lnTo>
                      <a:close/>
                      <a:moveTo>
                        <a:pt x="83" y="90"/>
                      </a:moveTo>
                      <a:lnTo>
                        <a:pt x="83" y="90"/>
                      </a:lnTo>
                      <a:lnTo>
                        <a:pt x="84" y="91"/>
                      </a:lnTo>
                      <a:lnTo>
                        <a:pt x="86" y="92"/>
                      </a:lnTo>
                      <a:lnTo>
                        <a:pt x="89" y="92"/>
                      </a:lnTo>
                      <a:lnTo>
                        <a:pt x="90" y="91"/>
                      </a:lnTo>
                      <a:lnTo>
                        <a:pt x="90" y="91"/>
                      </a:lnTo>
                      <a:lnTo>
                        <a:pt x="92" y="90"/>
                      </a:lnTo>
                      <a:lnTo>
                        <a:pt x="92" y="87"/>
                      </a:lnTo>
                      <a:lnTo>
                        <a:pt x="92" y="86"/>
                      </a:lnTo>
                      <a:lnTo>
                        <a:pt x="92" y="84"/>
                      </a:lnTo>
                      <a:lnTo>
                        <a:pt x="92" y="84"/>
                      </a:lnTo>
                      <a:lnTo>
                        <a:pt x="91" y="82"/>
                      </a:lnTo>
                      <a:lnTo>
                        <a:pt x="89" y="82"/>
                      </a:lnTo>
                      <a:lnTo>
                        <a:pt x="86" y="82"/>
                      </a:lnTo>
                      <a:lnTo>
                        <a:pt x="84" y="82"/>
                      </a:lnTo>
                      <a:lnTo>
                        <a:pt x="84" y="82"/>
                      </a:lnTo>
                      <a:lnTo>
                        <a:pt x="83" y="84"/>
                      </a:lnTo>
                      <a:lnTo>
                        <a:pt x="82" y="86"/>
                      </a:lnTo>
                      <a:lnTo>
                        <a:pt x="82" y="87"/>
                      </a:lnTo>
                      <a:lnTo>
                        <a:pt x="83" y="90"/>
                      </a:lnTo>
                      <a:lnTo>
                        <a:pt x="83" y="90"/>
                      </a:lnTo>
                      <a:lnTo>
                        <a:pt x="83" y="90"/>
                      </a:lnTo>
                      <a:close/>
                      <a:moveTo>
                        <a:pt x="86" y="80"/>
                      </a:moveTo>
                      <a:lnTo>
                        <a:pt x="86" y="80"/>
                      </a:lnTo>
                      <a:lnTo>
                        <a:pt x="90" y="80"/>
                      </a:lnTo>
                      <a:lnTo>
                        <a:pt x="93" y="83"/>
                      </a:lnTo>
                      <a:lnTo>
                        <a:pt x="93" y="83"/>
                      </a:lnTo>
                      <a:lnTo>
                        <a:pt x="95" y="86"/>
                      </a:lnTo>
                      <a:lnTo>
                        <a:pt x="93" y="89"/>
                      </a:lnTo>
                      <a:lnTo>
                        <a:pt x="93" y="91"/>
                      </a:lnTo>
                      <a:lnTo>
                        <a:pt x="91" y="92"/>
                      </a:lnTo>
                      <a:lnTo>
                        <a:pt x="91" y="92"/>
                      </a:lnTo>
                      <a:lnTo>
                        <a:pt x="89" y="93"/>
                      </a:lnTo>
                      <a:lnTo>
                        <a:pt x="86" y="93"/>
                      </a:lnTo>
                      <a:lnTo>
                        <a:pt x="84" y="92"/>
                      </a:lnTo>
                      <a:lnTo>
                        <a:pt x="82" y="90"/>
                      </a:lnTo>
                      <a:lnTo>
                        <a:pt x="82" y="90"/>
                      </a:lnTo>
                      <a:lnTo>
                        <a:pt x="80" y="87"/>
                      </a:lnTo>
                      <a:lnTo>
                        <a:pt x="80" y="86"/>
                      </a:lnTo>
                      <a:lnTo>
                        <a:pt x="82" y="83"/>
                      </a:lnTo>
                      <a:lnTo>
                        <a:pt x="84" y="80"/>
                      </a:lnTo>
                      <a:lnTo>
                        <a:pt x="84" y="80"/>
                      </a:lnTo>
                      <a:lnTo>
                        <a:pt x="86" y="80"/>
                      </a:lnTo>
                      <a:lnTo>
                        <a:pt x="86" y="80"/>
                      </a:lnTo>
                      <a:lnTo>
                        <a:pt x="84" y="80"/>
                      </a:lnTo>
                      <a:lnTo>
                        <a:pt x="84" y="80"/>
                      </a:lnTo>
                      <a:lnTo>
                        <a:pt x="83" y="80"/>
                      </a:lnTo>
                      <a:lnTo>
                        <a:pt x="83" y="80"/>
                      </a:lnTo>
                      <a:lnTo>
                        <a:pt x="80" y="82"/>
                      </a:lnTo>
                      <a:lnTo>
                        <a:pt x="80" y="86"/>
                      </a:lnTo>
                      <a:lnTo>
                        <a:pt x="80" y="87"/>
                      </a:lnTo>
                      <a:lnTo>
                        <a:pt x="80" y="91"/>
                      </a:lnTo>
                      <a:lnTo>
                        <a:pt x="80" y="91"/>
                      </a:lnTo>
                      <a:lnTo>
                        <a:pt x="80" y="91"/>
                      </a:lnTo>
                      <a:lnTo>
                        <a:pt x="82" y="91"/>
                      </a:lnTo>
                      <a:lnTo>
                        <a:pt x="82" y="91"/>
                      </a:lnTo>
                      <a:lnTo>
                        <a:pt x="83" y="93"/>
                      </a:lnTo>
                      <a:lnTo>
                        <a:pt x="83" y="93"/>
                      </a:lnTo>
                      <a:lnTo>
                        <a:pt x="88" y="95"/>
                      </a:lnTo>
                      <a:lnTo>
                        <a:pt x="90" y="95"/>
                      </a:lnTo>
                      <a:lnTo>
                        <a:pt x="92" y="93"/>
                      </a:lnTo>
                      <a:lnTo>
                        <a:pt x="92" y="93"/>
                      </a:lnTo>
                      <a:lnTo>
                        <a:pt x="95" y="90"/>
                      </a:lnTo>
                      <a:lnTo>
                        <a:pt x="95" y="90"/>
                      </a:lnTo>
                      <a:lnTo>
                        <a:pt x="95" y="90"/>
                      </a:lnTo>
                      <a:lnTo>
                        <a:pt x="93" y="89"/>
                      </a:lnTo>
                      <a:lnTo>
                        <a:pt x="93" y="89"/>
                      </a:lnTo>
                      <a:lnTo>
                        <a:pt x="95" y="87"/>
                      </a:lnTo>
                      <a:lnTo>
                        <a:pt x="95" y="87"/>
                      </a:lnTo>
                      <a:lnTo>
                        <a:pt x="95" y="86"/>
                      </a:lnTo>
                      <a:lnTo>
                        <a:pt x="95" y="82"/>
                      </a:lnTo>
                      <a:lnTo>
                        <a:pt x="95" y="82"/>
                      </a:lnTo>
                      <a:lnTo>
                        <a:pt x="91" y="80"/>
                      </a:lnTo>
                      <a:lnTo>
                        <a:pt x="86" y="78"/>
                      </a:lnTo>
                      <a:lnTo>
                        <a:pt x="86" y="78"/>
                      </a:lnTo>
                      <a:lnTo>
                        <a:pt x="86" y="78"/>
                      </a:lnTo>
                      <a:lnTo>
                        <a:pt x="86" y="80"/>
                      </a:lnTo>
                      <a:lnTo>
                        <a:pt x="86" y="80"/>
                      </a:lnTo>
                      <a:lnTo>
                        <a:pt x="86" y="80"/>
                      </a:lnTo>
                      <a:close/>
                      <a:moveTo>
                        <a:pt x="86" y="80"/>
                      </a:moveTo>
                      <a:lnTo>
                        <a:pt x="86" y="80"/>
                      </a:lnTo>
                      <a:lnTo>
                        <a:pt x="86" y="80"/>
                      </a:lnTo>
                      <a:lnTo>
                        <a:pt x="86" y="78"/>
                      </a:lnTo>
                      <a:lnTo>
                        <a:pt x="86" y="78"/>
                      </a:lnTo>
                      <a:lnTo>
                        <a:pt x="86" y="78"/>
                      </a:lnTo>
                      <a:lnTo>
                        <a:pt x="86" y="78"/>
                      </a:lnTo>
                      <a:lnTo>
                        <a:pt x="84" y="80"/>
                      </a:lnTo>
                      <a:lnTo>
                        <a:pt x="84" y="80"/>
                      </a:lnTo>
                      <a:lnTo>
                        <a:pt x="86" y="80"/>
                      </a:lnTo>
                      <a:lnTo>
                        <a:pt x="86" y="80"/>
                      </a:lnTo>
                      <a:lnTo>
                        <a:pt x="86" y="80"/>
                      </a:lnTo>
                      <a:close/>
                      <a:moveTo>
                        <a:pt x="80" y="91"/>
                      </a:moveTo>
                      <a:lnTo>
                        <a:pt x="80" y="91"/>
                      </a:lnTo>
                      <a:lnTo>
                        <a:pt x="83" y="93"/>
                      </a:lnTo>
                      <a:lnTo>
                        <a:pt x="83" y="93"/>
                      </a:lnTo>
                      <a:lnTo>
                        <a:pt x="82" y="91"/>
                      </a:lnTo>
                      <a:lnTo>
                        <a:pt x="80" y="91"/>
                      </a:lnTo>
                      <a:lnTo>
                        <a:pt x="80" y="91"/>
                      </a:lnTo>
                      <a:lnTo>
                        <a:pt x="80" y="91"/>
                      </a:lnTo>
                      <a:close/>
                      <a:moveTo>
                        <a:pt x="95" y="90"/>
                      </a:moveTo>
                      <a:lnTo>
                        <a:pt x="95" y="90"/>
                      </a:lnTo>
                      <a:lnTo>
                        <a:pt x="95" y="90"/>
                      </a:lnTo>
                      <a:lnTo>
                        <a:pt x="95" y="90"/>
                      </a:lnTo>
                      <a:lnTo>
                        <a:pt x="95" y="87"/>
                      </a:lnTo>
                      <a:lnTo>
                        <a:pt x="95" y="87"/>
                      </a:lnTo>
                      <a:lnTo>
                        <a:pt x="93" y="89"/>
                      </a:lnTo>
                      <a:lnTo>
                        <a:pt x="95" y="90"/>
                      </a:lnTo>
                      <a:lnTo>
                        <a:pt x="95" y="90"/>
                      </a:lnTo>
                      <a:lnTo>
                        <a:pt x="95" y="90"/>
                      </a:lnTo>
                      <a:close/>
                      <a:moveTo>
                        <a:pt x="88" y="164"/>
                      </a:moveTo>
                      <a:lnTo>
                        <a:pt x="88" y="164"/>
                      </a:lnTo>
                      <a:lnTo>
                        <a:pt x="80" y="164"/>
                      </a:lnTo>
                      <a:lnTo>
                        <a:pt x="73" y="163"/>
                      </a:lnTo>
                      <a:lnTo>
                        <a:pt x="65" y="160"/>
                      </a:lnTo>
                      <a:lnTo>
                        <a:pt x="58" y="158"/>
                      </a:lnTo>
                      <a:lnTo>
                        <a:pt x="51" y="155"/>
                      </a:lnTo>
                      <a:lnTo>
                        <a:pt x="45" y="151"/>
                      </a:lnTo>
                      <a:lnTo>
                        <a:pt x="39" y="146"/>
                      </a:lnTo>
                      <a:lnTo>
                        <a:pt x="34" y="141"/>
                      </a:lnTo>
                      <a:lnTo>
                        <a:pt x="29" y="136"/>
                      </a:lnTo>
                      <a:lnTo>
                        <a:pt x="24" y="130"/>
                      </a:lnTo>
                      <a:lnTo>
                        <a:pt x="20" y="124"/>
                      </a:lnTo>
                      <a:lnTo>
                        <a:pt x="17" y="117"/>
                      </a:lnTo>
                      <a:lnTo>
                        <a:pt x="15" y="110"/>
                      </a:lnTo>
                      <a:lnTo>
                        <a:pt x="13" y="103"/>
                      </a:lnTo>
                      <a:lnTo>
                        <a:pt x="11" y="95"/>
                      </a:lnTo>
                      <a:lnTo>
                        <a:pt x="11" y="87"/>
                      </a:lnTo>
                      <a:lnTo>
                        <a:pt x="11" y="87"/>
                      </a:lnTo>
                      <a:lnTo>
                        <a:pt x="11" y="80"/>
                      </a:lnTo>
                      <a:lnTo>
                        <a:pt x="13" y="71"/>
                      </a:lnTo>
                      <a:lnTo>
                        <a:pt x="15" y="65"/>
                      </a:lnTo>
                      <a:lnTo>
                        <a:pt x="17" y="57"/>
                      </a:lnTo>
                      <a:lnTo>
                        <a:pt x="20" y="50"/>
                      </a:lnTo>
                      <a:lnTo>
                        <a:pt x="24" y="44"/>
                      </a:lnTo>
                      <a:lnTo>
                        <a:pt x="29" y="38"/>
                      </a:lnTo>
                      <a:lnTo>
                        <a:pt x="34" y="32"/>
                      </a:lnTo>
                      <a:lnTo>
                        <a:pt x="39" y="28"/>
                      </a:lnTo>
                      <a:lnTo>
                        <a:pt x="45" y="23"/>
                      </a:lnTo>
                      <a:lnTo>
                        <a:pt x="51" y="19"/>
                      </a:lnTo>
                      <a:lnTo>
                        <a:pt x="58" y="16"/>
                      </a:lnTo>
                      <a:lnTo>
                        <a:pt x="65" y="14"/>
                      </a:lnTo>
                      <a:lnTo>
                        <a:pt x="73" y="13"/>
                      </a:lnTo>
                      <a:lnTo>
                        <a:pt x="80" y="12"/>
                      </a:lnTo>
                      <a:lnTo>
                        <a:pt x="88" y="10"/>
                      </a:lnTo>
                      <a:lnTo>
                        <a:pt x="88" y="10"/>
                      </a:lnTo>
                      <a:lnTo>
                        <a:pt x="95" y="12"/>
                      </a:lnTo>
                      <a:lnTo>
                        <a:pt x="103" y="13"/>
                      </a:lnTo>
                      <a:lnTo>
                        <a:pt x="110" y="14"/>
                      </a:lnTo>
                      <a:lnTo>
                        <a:pt x="117" y="16"/>
                      </a:lnTo>
                      <a:lnTo>
                        <a:pt x="124" y="19"/>
                      </a:lnTo>
                      <a:lnTo>
                        <a:pt x="131" y="23"/>
                      </a:lnTo>
                      <a:lnTo>
                        <a:pt x="137" y="28"/>
                      </a:lnTo>
                      <a:lnTo>
                        <a:pt x="142" y="32"/>
                      </a:lnTo>
                      <a:lnTo>
                        <a:pt x="146" y="38"/>
                      </a:lnTo>
                      <a:lnTo>
                        <a:pt x="151" y="44"/>
                      </a:lnTo>
                      <a:lnTo>
                        <a:pt x="156" y="50"/>
                      </a:lnTo>
                      <a:lnTo>
                        <a:pt x="159" y="57"/>
                      </a:lnTo>
                      <a:lnTo>
                        <a:pt x="161" y="65"/>
                      </a:lnTo>
                      <a:lnTo>
                        <a:pt x="163" y="71"/>
                      </a:lnTo>
                      <a:lnTo>
                        <a:pt x="164" y="80"/>
                      </a:lnTo>
                      <a:lnTo>
                        <a:pt x="164" y="87"/>
                      </a:lnTo>
                      <a:lnTo>
                        <a:pt x="164" y="87"/>
                      </a:lnTo>
                      <a:lnTo>
                        <a:pt x="164" y="95"/>
                      </a:lnTo>
                      <a:lnTo>
                        <a:pt x="163" y="103"/>
                      </a:lnTo>
                      <a:lnTo>
                        <a:pt x="161" y="110"/>
                      </a:lnTo>
                      <a:lnTo>
                        <a:pt x="159" y="117"/>
                      </a:lnTo>
                      <a:lnTo>
                        <a:pt x="156" y="124"/>
                      </a:lnTo>
                      <a:lnTo>
                        <a:pt x="151" y="130"/>
                      </a:lnTo>
                      <a:lnTo>
                        <a:pt x="146" y="136"/>
                      </a:lnTo>
                      <a:lnTo>
                        <a:pt x="142" y="141"/>
                      </a:lnTo>
                      <a:lnTo>
                        <a:pt x="137" y="146"/>
                      </a:lnTo>
                      <a:lnTo>
                        <a:pt x="131" y="151"/>
                      </a:lnTo>
                      <a:lnTo>
                        <a:pt x="124" y="155"/>
                      </a:lnTo>
                      <a:lnTo>
                        <a:pt x="117" y="158"/>
                      </a:lnTo>
                      <a:lnTo>
                        <a:pt x="110" y="160"/>
                      </a:lnTo>
                      <a:lnTo>
                        <a:pt x="103" y="163"/>
                      </a:lnTo>
                      <a:lnTo>
                        <a:pt x="95" y="164"/>
                      </a:lnTo>
                      <a:lnTo>
                        <a:pt x="88" y="164"/>
                      </a:lnTo>
                      <a:lnTo>
                        <a:pt x="88" y="164"/>
                      </a:lnTo>
                      <a:lnTo>
                        <a:pt x="88" y="164"/>
                      </a:lnTo>
                      <a:close/>
                      <a:moveTo>
                        <a:pt x="88" y="175"/>
                      </a:moveTo>
                      <a:lnTo>
                        <a:pt x="88" y="175"/>
                      </a:lnTo>
                      <a:lnTo>
                        <a:pt x="97" y="175"/>
                      </a:lnTo>
                      <a:lnTo>
                        <a:pt x="105" y="173"/>
                      </a:lnTo>
                      <a:lnTo>
                        <a:pt x="114" y="171"/>
                      </a:lnTo>
                      <a:lnTo>
                        <a:pt x="122" y="169"/>
                      </a:lnTo>
                      <a:lnTo>
                        <a:pt x="130" y="164"/>
                      </a:lnTo>
                      <a:lnTo>
                        <a:pt x="137" y="160"/>
                      </a:lnTo>
                      <a:lnTo>
                        <a:pt x="144" y="155"/>
                      </a:lnTo>
                      <a:lnTo>
                        <a:pt x="150" y="149"/>
                      </a:lnTo>
                      <a:lnTo>
                        <a:pt x="156" y="142"/>
                      </a:lnTo>
                      <a:lnTo>
                        <a:pt x="161" y="136"/>
                      </a:lnTo>
                      <a:lnTo>
                        <a:pt x="165" y="129"/>
                      </a:lnTo>
                      <a:lnTo>
                        <a:pt x="169" y="122"/>
                      </a:lnTo>
                      <a:lnTo>
                        <a:pt x="172" y="114"/>
                      </a:lnTo>
                      <a:lnTo>
                        <a:pt x="174" y="105"/>
                      </a:lnTo>
                      <a:lnTo>
                        <a:pt x="176" y="96"/>
                      </a:lnTo>
                      <a:lnTo>
                        <a:pt x="176" y="87"/>
                      </a:lnTo>
                      <a:lnTo>
                        <a:pt x="176" y="87"/>
                      </a:lnTo>
                      <a:lnTo>
                        <a:pt x="176" y="78"/>
                      </a:lnTo>
                      <a:lnTo>
                        <a:pt x="174" y="68"/>
                      </a:lnTo>
                      <a:lnTo>
                        <a:pt x="172" y="61"/>
                      </a:lnTo>
                      <a:lnTo>
                        <a:pt x="169" y="53"/>
                      </a:lnTo>
                      <a:lnTo>
                        <a:pt x="165" y="46"/>
                      </a:lnTo>
                      <a:lnTo>
                        <a:pt x="161" y="38"/>
                      </a:lnTo>
                      <a:lnTo>
                        <a:pt x="156" y="31"/>
                      </a:lnTo>
                      <a:lnTo>
                        <a:pt x="150" y="25"/>
                      </a:lnTo>
                      <a:lnTo>
                        <a:pt x="144" y="19"/>
                      </a:lnTo>
                      <a:lnTo>
                        <a:pt x="137" y="14"/>
                      </a:lnTo>
                      <a:lnTo>
                        <a:pt x="130" y="10"/>
                      </a:lnTo>
                      <a:lnTo>
                        <a:pt x="122" y="7"/>
                      </a:lnTo>
                      <a:lnTo>
                        <a:pt x="114" y="4"/>
                      </a:lnTo>
                      <a:lnTo>
                        <a:pt x="105" y="1"/>
                      </a:lnTo>
                      <a:lnTo>
                        <a:pt x="97" y="0"/>
                      </a:lnTo>
                      <a:lnTo>
                        <a:pt x="88" y="0"/>
                      </a:lnTo>
                      <a:lnTo>
                        <a:pt x="88" y="0"/>
                      </a:lnTo>
                      <a:lnTo>
                        <a:pt x="78" y="0"/>
                      </a:lnTo>
                      <a:lnTo>
                        <a:pt x="70" y="1"/>
                      </a:lnTo>
                      <a:lnTo>
                        <a:pt x="62" y="4"/>
                      </a:lnTo>
                      <a:lnTo>
                        <a:pt x="54" y="7"/>
                      </a:lnTo>
                      <a:lnTo>
                        <a:pt x="45" y="10"/>
                      </a:lnTo>
                      <a:lnTo>
                        <a:pt x="38" y="14"/>
                      </a:lnTo>
                      <a:lnTo>
                        <a:pt x="31" y="19"/>
                      </a:lnTo>
                      <a:lnTo>
                        <a:pt x="25" y="25"/>
                      </a:lnTo>
                      <a:lnTo>
                        <a:pt x="19" y="31"/>
                      </a:lnTo>
                      <a:lnTo>
                        <a:pt x="15" y="38"/>
                      </a:lnTo>
                      <a:lnTo>
                        <a:pt x="10" y="46"/>
                      </a:lnTo>
                      <a:lnTo>
                        <a:pt x="7" y="53"/>
                      </a:lnTo>
                      <a:lnTo>
                        <a:pt x="3" y="61"/>
                      </a:lnTo>
                      <a:lnTo>
                        <a:pt x="1" y="68"/>
                      </a:lnTo>
                      <a:lnTo>
                        <a:pt x="0" y="78"/>
                      </a:lnTo>
                      <a:lnTo>
                        <a:pt x="0" y="87"/>
                      </a:lnTo>
                      <a:lnTo>
                        <a:pt x="0" y="87"/>
                      </a:lnTo>
                      <a:lnTo>
                        <a:pt x="0" y="96"/>
                      </a:lnTo>
                      <a:lnTo>
                        <a:pt x="1" y="105"/>
                      </a:lnTo>
                      <a:lnTo>
                        <a:pt x="3" y="114"/>
                      </a:lnTo>
                      <a:lnTo>
                        <a:pt x="7" y="122"/>
                      </a:lnTo>
                      <a:lnTo>
                        <a:pt x="10" y="129"/>
                      </a:lnTo>
                      <a:lnTo>
                        <a:pt x="15" y="136"/>
                      </a:lnTo>
                      <a:lnTo>
                        <a:pt x="19" y="142"/>
                      </a:lnTo>
                      <a:lnTo>
                        <a:pt x="25" y="149"/>
                      </a:lnTo>
                      <a:lnTo>
                        <a:pt x="31" y="155"/>
                      </a:lnTo>
                      <a:lnTo>
                        <a:pt x="38" y="160"/>
                      </a:lnTo>
                      <a:lnTo>
                        <a:pt x="45" y="164"/>
                      </a:lnTo>
                      <a:lnTo>
                        <a:pt x="54" y="169"/>
                      </a:lnTo>
                      <a:lnTo>
                        <a:pt x="62" y="171"/>
                      </a:lnTo>
                      <a:lnTo>
                        <a:pt x="70" y="173"/>
                      </a:lnTo>
                      <a:lnTo>
                        <a:pt x="78" y="175"/>
                      </a:lnTo>
                      <a:lnTo>
                        <a:pt x="88" y="175"/>
                      </a:lnTo>
                      <a:lnTo>
                        <a:pt x="88" y="175"/>
                      </a:lnTo>
                      <a:lnTo>
                        <a:pt x="88" y="175"/>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6" name="Freeform 213"/>
                <p:cNvSpPr>
                  <a:spLocks noEditPoints="1"/>
                </p:cNvSpPr>
                <p:nvPr/>
              </p:nvSpPr>
              <p:spPr bwMode="auto">
                <a:xfrm rot="5400000">
                  <a:off x="10945612" y="442420"/>
                  <a:ext cx="190649" cy="202224"/>
                </a:xfrm>
                <a:custGeom>
                  <a:avLst/>
                  <a:gdLst>
                    <a:gd name="T0" fmla="*/ 54 w 174"/>
                    <a:gd name="T1" fmla="*/ 35 h 177"/>
                    <a:gd name="T2" fmla="*/ 72 w 174"/>
                    <a:gd name="T3" fmla="*/ 35 h 177"/>
                    <a:gd name="T4" fmla="*/ 72 w 174"/>
                    <a:gd name="T5" fmla="*/ 54 h 177"/>
                    <a:gd name="T6" fmla="*/ 91 w 174"/>
                    <a:gd name="T7" fmla="*/ 54 h 177"/>
                    <a:gd name="T8" fmla="*/ 91 w 174"/>
                    <a:gd name="T9" fmla="*/ 72 h 177"/>
                    <a:gd name="T10" fmla="*/ 72 w 174"/>
                    <a:gd name="T11" fmla="*/ 72 h 177"/>
                    <a:gd name="T12" fmla="*/ 72 w 174"/>
                    <a:gd name="T13" fmla="*/ 92 h 177"/>
                    <a:gd name="T14" fmla="*/ 54 w 174"/>
                    <a:gd name="T15" fmla="*/ 92 h 177"/>
                    <a:gd name="T16" fmla="*/ 54 w 174"/>
                    <a:gd name="T17" fmla="*/ 72 h 177"/>
                    <a:gd name="T18" fmla="*/ 34 w 174"/>
                    <a:gd name="T19" fmla="*/ 72 h 177"/>
                    <a:gd name="T20" fmla="*/ 34 w 174"/>
                    <a:gd name="T21" fmla="*/ 54 h 177"/>
                    <a:gd name="T22" fmla="*/ 54 w 174"/>
                    <a:gd name="T23" fmla="*/ 54 h 177"/>
                    <a:gd name="T24" fmla="*/ 54 w 174"/>
                    <a:gd name="T25" fmla="*/ 35 h 177"/>
                    <a:gd name="T26" fmla="*/ 63 w 174"/>
                    <a:gd name="T27" fmla="*/ 11 h 177"/>
                    <a:gd name="T28" fmla="*/ 10 w 174"/>
                    <a:gd name="T29" fmla="*/ 63 h 177"/>
                    <a:gd name="T30" fmla="*/ 63 w 174"/>
                    <a:gd name="T31" fmla="*/ 116 h 177"/>
                    <a:gd name="T32" fmla="*/ 115 w 174"/>
                    <a:gd name="T33" fmla="*/ 63 h 177"/>
                    <a:gd name="T34" fmla="*/ 63 w 174"/>
                    <a:gd name="T35" fmla="*/ 11 h 177"/>
                    <a:gd name="T36" fmla="*/ 63 w 174"/>
                    <a:gd name="T37" fmla="*/ 0 h 177"/>
                    <a:gd name="T38" fmla="*/ 126 w 174"/>
                    <a:gd name="T39" fmla="*/ 63 h 177"/>
                    <a:gd name="T40" fmla="*/ 113 w 174"/>
                    <a:gd name="T41" fmla="*/ 101 h 177"/>
                    <a:gd name="T42" fmla="*/ 117 w 174"/>
                    <a:gd name="T43" fmla="*/ 105 h 177"/>
                    <a:gd name="T44" fmla="*/ 125 w 174"/>
                    <a:gd name="T45" fmla="*/ 103 h 177"/>
                    <a:gd name="T46" fmla="*/ 170 w 174"/>
                    <a:gd name="T47" fmla="*/ 148 h 177"/>
                    <a:gd name="T48" fmla="*/ 146 w 174"/>
                    <a:gd name="T49" fmla="*/ 172 h 177"/>
                    <a:gd name="T50" fmla="*/ 100 w 174"/>
                    <a:gd name="T51" fmla="*/ 128 h 177"/>
                    <a:gd name="T52" fmla="*/ 103 w 174"/>
                    <a:gd name="T53" fmla="*/ 119 h 177"/>
                    <a:gd name="T54" fmla="*/ 98 w 174"/>
                    <a:gd name="T55" fmla="*/ 116 h 177"/>
                    <a:gd name="T56" fmla="*/ 63 w 174"/>
                    <a:gd name="T57" fmla="*/ 126 h 177"/>
                    <a:gd name="T58" fmla="*/ 0 w 174"/>
                    <a:gd name="T59" fmla="*/ 63 h 177"/>
                    <a:gd name="T60" fmla="*/ 63 w 174"/>
                    <a:gd name="T6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77">
                      <a:moveTo>
                        <a:pt x="54" y="35"/>
                      </a:moveTo>
                      <a:cubicBezTo>
                        <a:pt x="72" y="35"/>
                        <a:pt x="72" y="35"/>
                        <a:pt x="72" y="35"/>
                      </a:cubicBezTo>
                      <a:cubicBezTo>
                        <a:pt x="72" y="54"/>
                        <a:pt x="72" y="54"/>
                        <a:pt x="72" y="54"/>
                      </a:cubicBezTo>
                      <a:cubicBezTo>
                        <a:pt x="91" y="54"/>
                        <a:pt x="91" y="54"/>
                        <a:pt x="91" y="54"/>
                      </a:cubicBezTo>
                      <a:cubicBezTo>
                        <a:pt x="91" y="72"/>
                        <a:pt x="91" y="72"/>
                        <a:pt x="91" y="72"/>
                      </a:cubicBezTo>
                      <a:cubicBezTo>
                        <a:pt x="72" y="72"/>
                        <a:pt x="72" y="72"/>
                        <a:pt x="72" y="72"/>
                      </a:cubicBezTo>
                      <a:cubicBezTo>
                        <a:pt x="72" y="92"/>
                        <a:pt x="72" y="92"/>
                        <a:pt x="72" y="92"/>
                      </a:cubicBezTo>
                      <a:cubicBezTo>
                        <a:pt x="54" y="92"/>
                        <a:pt x="54" y="92"/>
                        <a:pt x="54" y="92"/>
                      </a:cubicBezTo>
                      <a:cubicBezTo>
                        <a:pt x="54" y="72"/>
                        <a:pt x="54" y="72"/>
                        <a:pt x="54" y="72"/>
                      </a:cubicBezTo>
                      <a:cubicBezTo>
                        <a:pt x="34" y="72"/>
                        <a:pt x="34" y="72"/>
                        <a:pt x="34" y="72"/>
                      </a:cubicBezTo>
                      <a:cubicBezTo>
                        <a:pt x="34" y="54"/>
                        <a:pt x="34" y="54"/>
                        <a:pt x="34" y="54"/>
                      </a:cubicBezTo>
                      <a:cubicBezTo>
                        <a:pt x="54" y="54"/>
                        <a:pt x="54" y="54"/>
                        <a:pt x="54" y="54"/>
                      </a:cubicBezTo>
                      <a:cubicBezTo>
                        <a:pt x="54" y="35"/>
                        <a:pt x="54" y="35"/>
                        <a:pt x="54" y="35"/>
                      </a:cubicBezTo>
                      <a:close/>
                      <a:moveTo>
                        <a:pt x="63" y="11"/>
                      </a:moveTo>
                      <a:cubicBezTo>
                        <a:pt x="34" y="11"/>
                        <a:pt x="10" y="34"/>
                        <a:pt x="10" y="63"/>
                      </a:cubicBezTo>
                      <a:cubicBezTo>
                        <a:pt x="10" y="92"/>
                        <a:pt x="34" y="116"/>
                        <a:pt x="63" y="116"/>
                      </a:cubicBezTo>
                      <a:cubicBezTo>
                        <a:pt x="92" y="116"/>
                        <a:pt x="115" y="92"/>
                        <a:pt x="115" y="63"/>
                      </a:cubicBezTo>
                      <a:cubicBezTo>
                        <a:pt x="115" y="34"/>
                        <a:pt x="92" y="11"/>
                        <a:pt x="63" y="11"/>
                      </a:cubicBezTo>
                      <a:close/>
                      <a:moveTo>
                        <a:pt x="63" y="0"/>
                      </a:moveTo>
                      <a:cubicBezTo>
                        <a:pt x="98" y="0"/>
                        <a:pt x="126" y="28"/>
                        <a:pt x="126" y="63"/>
                      </a:cubicBezTo>
                      <a:cubicBezTo>
                        <a:pt x="126" y="78"/>
                        <a:pt x="121" y="91"/>
                        <a:pt x="113" y="101"/>
                      </a:cubicBezTo>
                      <a:cubicBezTo>
                        <a:pt x="117" y="105"/>
                        <a:pt x="117" y="105"/>
                        <a:pt x="117" y="105"/>
                      </a:cubicBezTo>
                      <a:cubicBezTo>
                        <a:pt x="125" y="103"/>
                        <a:pt x="125" y="103"/>
                        <a:pt x="125" y="103"/>
                      </a:cubicBezTo>
                      <a:cubicBezTo>
                        <a:pt x="170" y="148"/>
                        <a:pt x="170" y="148"/>
                        <a:pt x="170" y="148"/>
                      </a:cubicBezTo>
                      <a:cubicBezTo>
                        <a:pt x="171" y="155"/>
                        <a:pt x="174" y="177"/>
                        <a:pt x="146" y="172"/>
                      </a:cubicBezTo>
                      <a:cubicBezTo>
                        <a:pt x="100" y="128"/>
                        <a:pt x="100" y="128"/>
                        <a:pt x="100" y="128"/>
                      </a:cubicBezTo>
                      <a:cubicBezTo>
                        <a:pt x="103" y="119"/>
                        <a:pt x="103" y="119"/>
                        <a:pt x="103" y="119"/>
                      </a:cubicBezTo>
                      <a:cubicBezTo>
                        <a:pt x="98" y="116"/>
                        <a:pt x="98" y="116"/>
                        <a:pt x="98" y="116"/>
                      </a:cubicBezTo>
                      <a:cubicBezTo>
                        <a:pt x="88" y="122"/>
                        <a:pt x="76" y="126"/>
                        <a:pt x="63" y="126"/>
                      </a:cubicBezTo>
                      <a:cubicBezTo>
                        <a:pt x="28" y="126"/>
                        <a:pt x="0" y="98"/>
                        <a:pt x="0" y="63"/>
                      </a:cubicBezTo>
                      <a:cubicBezTo>
                        <a:pt x="0" y="28"/>
                        <a:pt x="28" y="0"/>
                        <a:pt x="63" y="0"/>
                      </a:cubicBez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7" name="Freeform 214"/>
                <p:cNvSpPr>
                  <a:spLocks noEditPoints="1"/>
                </p:cNvSpPr>
                <p:nvPr/>
              </p:nvSpPr>
              <p:spPr bwMode="auto">
                <a:xfrm>
                  <a:off x="10561566" y="159385"/>
                  <a:ext cx="110605" cy="208261"/>
                </a:xfrm>
                <a:custGeom>
                  <a:avLst/>
                  <a:gdLst>
                    <a:gd name="T0" fmla="*/ 43 w 101"/>
                    <a:gd name="T1" fmla="*/ 165 h 183"/>
                    <a:gd name="T2" fmla="*/ 42 w 101"/>
                    <a:gd name="T3" fmla="*/ 166 h 183"/>
                    <a:gd name="T4" fmla="*/ 42 w 101"/>
                    <a:gd name="T5" fmla="*/ 172 h 183"/>
                    <a:gd name="T6" fmla="*/ 43 w 101"/>
                    <a:gd name="T7" fmla="*/ 174 h 183"/>
                    <a:gd name="T8" fmla="*/ 57 w 101"/>
                    <a:gd name="T9" fmla="*/ 174 h 183"/>
                    <a:gd name="T10" fmla="*/ 59 w 101"/>
                    <a:gd name="T11" fmla="*/ 172 h 183"/>
                    <a:gd name="T12" fmla="*/ 59 w 101"/>
                    <a:gd name="T13" fmla="*/ 166 h 183"/>
                    <a:gd name="T14" fmla="*/ 57 w 101"/>
                    <a:gd name="T15" fmla="*/ 165 h 183"/>
                    <a:gd name="T16" fmla="*/ 43 w 101"/>
                    <a:gd name="T17" fmla="*/ 165 h 183"/>
                    <a:gd name="T18" fmla="*/ 7 w 101"/>
                    <a:gd name="T19" fmla="*/ 11 h 183"/>
                    <a:gd name="T20" fmla="*/ 6 w 101"/>
                    <a:gd name="T21" fmla="*/ 12 h 183"/>
                    <a:gd name="T22" fmla="*/ 6 w 101"/>
                    <a:gd name="T23" fmla="*/ 160 h 183"/>
                    <a:gd name="T24" fmla="*/ 7 w 101"/>
                    <a:gd name="T25" fmla="*/ 161 h 183"/>
                    <a:gd name="T26" fmla="*/ 94 w 101"/>
                    <a:gd name="T27" fmla="*/ 161 h 183"/>
                    <a:gd name="T28" fmla="*/ 95 w 101"/>
                    <a:gd name="T29" fmla="*/ 160 h 183"/>
                    <a:gd name="T30" fmla="*/ 95 w 101"/>
                    <a:gd name="T31" fmla="*/ 12 h 183"/>
                    <a:gd name="T32" fmla="*/ 94 w 101"/>
                    <a:gd name="T33" fmla="*/ 11 h 183"/>
                    <a:gd name="T34" fmla="*/ 7 w 101"/>
                    <a:gd name="T35" fmla="*/ 11 h 183"/>
                    <a:gd name="T36" fmla="*/ 43 w 101"/>
                    <a:gd name="T37" fmla="*/ 4 h 183"/>
                    <a:gd name="T38" fmla="*/ 43 w 101"/>
                    <a:gd name="T39" fmla="*/ 5 h 183"/>
                    <a:gd name="T40" fmla="*/ 43 w 101"/>
                    <a:gd name="T41" fmla="*/ 6 h 183"/>
                    <a:gd name="T42" fmla="*/ 43 w 101"/>
                    <a:gd name="T43" fmla="*/ 7 h 183"/>
                    <a:gd name="T44" fmla="*/ 57 w 101"/>
                    <a:gd name="T45" fmla="*/ 7 h 183"/>
                    <a:gd name="T46" fmla="*/ 58 w 101"/>
                    <a:gd name="T47" fmla="*/ 6 h 183"/>
                    <a:gd name="T48" fmla="*/ 58 w 101"/>
                    <a:gd name="T49" fmla="*/ 5 h 183"/>
                    <a:gd name="T50" fmla="*/ 57 w 101"/>
                    <a:gd name="T51" fmla="*/ 4 h 183"/>
                    <a:gd name="T52" fmla="*/ 43 w 101"/>
                    <a:gd name="T53" fmla="*/ 4 h 183"/>
                    <a:gd name="T54" fmla="*/ 81 w 101"/>
                    <a:gd name="T55" fmla="*/ 3 h 183"/>
                    <a:gd name="T56" fmla="*/ 79 w 101"/>
                    <a:gd name="T57" fmla="*/ 5 h 183"/>
                    <a:gd name="T58" fmla="*/ 81 w 101"/>
                    <a:gd name="T59" fmla="*/ 8 h 183"/>
                    <a:gd name="T60" fmla="*/ 84 w 101"/>
                    <a:gd name="T61" fmla="*/ 5 h 183"/>
                    <a:gd name="T62" fmla="*/ 81 w 101"/>
                    <a:gd name="T63" fmla="*/ 3 h 183"/>
                    <a:gd name="T64" fmla="*/ 5 w 101"/>
                    <a:gd name="T65" fmla="*/ 0 h 183"/>
                    <a:gd name="T66" fmla="*/ 95 w 101"/>
                    <a:gd name="T67" fmla="*/ 0 h 183"/>
                    <a:gd name="T68" fmla="*/ 101 w 101"/>
                    <a:gd name="T69" fmla="*/ 5 h 183"/>
                    <a:gd name="T70" fmla="*/ 101 w 101"/>
                    <a:gd name="T71" fmla="*/ 177 h 183"/>
                    <a:gd name="T72" fmla="*/ 95 w 101"/>
                    <a:gd name="T73" fmla="*/ 183 h 183"/>
                    <a:gd name="T74" fmla="*/ 5 w 101"/>
                    <a:gd name="T75" fmla="*/ 183 h 183"/>
                    <a:gd name="T76" fmla="*/ 0 w 101"/>
                    <a:gd name="T77" fmla="*/ 177 h 183"/>
                    <a:gd name="T78" fmla="*/ 0 w 101"/>
                    <a:gd name="T79" fmla="*/ 5 h 183"/>
                    <a:gd name="T80" fmla="*/ 5 w 101"/>
                    <a:gd name="T8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183">
                      <a:moveTo>
                        <a:pt x="43" y="165"/>
                      </a:moveTo>
                      <a:cubicBezTo>
                        <a:pt x="42" y="165"/>
                        <a:pt x="42" y="166"/>
                        <a:pt x="42" y="166"/>
                      </a:cubicBezTo>
                      <a:cubicBezTo>
                        <a:pt x="42" y="172"/>
                        <a:pt x="42" y="172"/>
                        <a:pt x="42" y="172"/>
                      </a:cubicBezTo>
                      <a:cubicBezTo>
                        <a:pt x="42" y="173"/>
                        <a:pt x="42" y="174"/>
                        <a:pt x="43" y="174"/>
                      </a:cubicBezTo>
                      <a:cubicBezTo>
                        <a:pt x="57" y="174"/>
                        <a:pt x="57" y="174"/>
                        <a:pt x="57" y="174"/>
                      </a:cubicBezTo>
                      <a:cubicBezTo>
                        <a:pt x="58" y="174"/>
                        <a:pt x="59" y="173"/>
                        <a:pt x="59" y="172"/>
                      </a:cubicBezTo>
                      <a:cubicBezTo>
                        <a:pt x="59" y="166"/>
                        <a:pt x="59" y="166"/>
                        <a:pt x="59" y="166"/>
                      </a:cubicBezTo>
                      <a:cubicBezTo>
                        <a:pt x="59" y="166"/>
                        <a:pt x="58" y="165"/>
                        <a:pt x="57" y="165"/>
                      </a:cubicBezTo>
                      <a:lnTo>
                        <a:pt x="43" y="165"/>
                      </a:lnTo>
                      <a:close/>
                      <a:moveTo>
                        <a:pt x="7" y="11"/>
                      </a:moveTo>
                      <a:cubicBezTo>
                        <a:pt x="6" y="11"/>
                        <a:pt x="6" y="11"/>
                        <a:pt x="6" y="12"/>
                      </a:cubicBezTo>
                      <a:cubicBezTo>
                        <a:pt x="6" y="160"/>
                        <a:pt x="6" y="160"/>
                        <a:pt x="6" y="160"/>
                      </a:cubicBezTo>
                      <a:cubicBezTo>
                        <a:pt x="6" y="160"/>
                        <a:pt x="6" y="161"/>
                        <a:pt x="7" y="161"/>
                      </a:cubicBezTo>
                      <a:cubicBezTo>
                        <a:pt x="94" y="161"/>
                        <a:pt x="94" y="161"/>
                        <a:pt x="94" y="161"/>
                      </a:cubicBezTo>
                      <a:cubicBezTo>
                        <a:pt x="94" y="161"/>
                        <a:pt x="95" y="160"/>
                        <a:pt x="95" y="160"/>
                      </a:cubicBezTo>
                      <a:cubicBezTo>
                        <a:pt x="95" y="12"/>
                        <a:pt x="95" y="12"/>
                        <a:pt x="95" y="12"/>
                      </a:cubicBezTo>
                      <a:cubicBezTo>
                        <a:pt x="95" y="11"/>
                        <a:pt x="94" y="11"/>
                        <a:pt x="94" y="11"/>
                      </a:cubicBezTo>
                      <a:lnTo>
                        <a:pt x="7" y="11"/>
                      </a:lnTo>
                      <a:close/>
                      <a:moveTo>
                        <a:pt x="43" y="4"/>
                      </a:moveTo>
                      <a:cubicBezTo>
                        <a:pt x="43" y="4"/>
                        <a:pt x="43" y="5"/>
                        <a:pt x="43" y="5"/>
                      </a:cubicBezTo>
                      <a:cubicBezTo>
                        <a:pt x="43" y="6"/>
                        <a:pt x="43" y="6"/>
                        <a:pt x="43" y="6"/>
                      </a:cubicBezTo>
                      <a:cubicBezTo>
                        <a:pt x="43" y="7"/>
                        <a:pt x="43" y="7"/>
                        <a:pt x="43" y="7"/>
                      </a:cubicBezTo>
                      <a:cubicBezTo>
                        <a:pt x="57" y="7"/>
                        <a:pt x="57" y="7"/>
                        <a:pt x="57" y="7"/>
                      </a:cubicBezTo>
                      <a:cubicBezTo>
                        <a:pt x="57" y="7"/>
                        <a:pt x="58" y="7"/>
                        <a:pt x="58" y="6"/>
                      </a:cubicBezTo>
                      <a:cubicBezTo>
                        <a:pt x="58" y="5"/>
                        <a:pt x="58" y="5"/>
                        <a:pt x="58" y="5"/>
                      </a:cubicBezTo>
                      <a:cubicBezTo>
                        <a:pt x="58" y="5"/>
                        <a:pt x="57" y="4"/>
                        <a:pt x="57" y="4"/>
                      </a:cubicBezTo>
                      <a:lnTo>
                        <a:pt x="43" y="4"/>
                      </a:lnTo>
                      <a:close/>
                      <a:moveTo>
                        <a:pt x="81" y="3"/>
                      </a:moveTo>
                      <a:cubicBezTo>
                        <a:pt x="80" y="3"/>
                        <a:pt x="79" y="4"/>
                        <a:pt x="79" y="5"/>
                      </a:cubicBezTo>
                      <a:cubicBezTo>
                        <a:pt x="79" y="7"/>
                        <a:pt x="80" y="8"/>
                        <a:pt x="81" y="8"/>
                      </a:cubicBezTo>
                      <a:cubicBezTo>
                        <a:pt x="83" y="8"/>
                        <a:pt x="84" y="7"/>
                        <a:pt x="84" y="5"/>
                      </a:cubicBezTo>
                      <a:cubicBezTo>
                        <a:pt x="84" y="4"/>
                        <a:pt x="83" y="3"/>
                        <a:pt x="81" y="3"/>
                      </a:cubicBezTo>
                      <a:close/>
                      <a:moveTo>
                        <a:pt x="5" y="0"/>
                      </a:moveTo>
                      <a:cubicBezTo>
                        <a:pt x="95" y="0"/>
                        <a:pt x="95" y="0"/>
                        <a:pt x="95" y="0"/>
                      </a:cubicBezTo>
                      <a:cubicBezTo>
                        <a:pt x="98" y="0"/>
                        <a:pt x="101" y="2"/>
                        <a:pt x="101" y="5"/>
                      </a:cubicBezTo>
                      <a:cubicBezTo>
                        <a:pt x="101" y="177"/>
                        <a:pt x="101" y="177"/>
                        <a:pt x="101" y="177"/>
                      </a:cubicBezTo>
                      <a:cubicBezTo>
                        <a:pt x="101" y="180"/>
                        <a:pt x="98" y="183"/>
                        <a:pt x="95" y="183"/>
                      </a:cubicBezTo>
                      <a:cubicBezTo>
                        <a:pt x="5" y="183"/>
                        <a:pt x="5" y="183"/>
                        <a:pt x="5" y="183"/>
                      </a:cubicBezTo>
                      <a:cubicBezTo>
                        <a:pt x="2" y="183"/>
                        <a:pt x="0" y="180"/>
                        <a:pt x="0" y="177"/>
                      </a:cubicBezTo>
                      <a:cubicBezTo>
                        <a:pt x="0" y="5"/>
                        <a:pt x="0" y="5"/>
                        <a:pt x="0" y="5"/>
                      </a:cubicBezTo>
                      <a:cubicBezTo>
                        <a:pt x="0" y="2"/>
                        <a:pt x="2" y="0"/>
                        <a:pt x="5" y="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8" name="Freeform 215"/>
                <p:cNvSpPr>
                  <a:spLocks noEditPoints="1"/>
                </p:cNvSpPr>
                <p:nvPr/>
              </p:nvSpPr>
              <p:spPr bwMode="auto">
                <a:xfrm>
                  <a:off x="11958300" y="504892"/>
                  <a:ext cx="112061" cy="208261"/>
                </a:xfrm>
                <a:custGeom>
                  <a:avLst/>
                  <a:gdLst>
                    <a:gd name="T0" fmla="*/ 51 w 102"/>
                    <a:gd name="T1" fmla="*/ 142 h 183"/>
                    <a:gd name="T2" fmla="*/ 45 w 102"/>
                    <a:gd name="T3" fmla="*/ 148 h 183"/>
                    <a:gd name="T4" fmla="*/ 51 w 102"/>
                    <a:gd name="T5" fmla="*/ 154 h 183"/>
                    <a:gd name="T6" fmla="*/ 57 w 102"/>
                    <a:gd name="T7" fmla="*/ 148 h 183"/>
                    <a:gd name="T8" fmla="*/ 51 w 102"/>
                    <a:gd name="T9" fmla="*/ 142 h 183"/>
                    <a:gd name="T10" fmla="*/ 51 w 102"/>
                    <a:gd name="T11" fmla="*/ 117 h 183"/>
                    <a:gd name="T12" fmla="*/ 40 w 102"/>
                    <a:gd name="T13" fmla="*/ 128 h 183"/>
                    <a:gd name="T14" fmla="*/ 51 w 102"/>
                    <a:gd name="T15" fmla="*/ 139 h 183"/>
                    <a:gd name="T16" fmla="*/ 62 w 102"/>
                    <a:gd name="T17" fmla="*/ 128 h 183"/>
                    <a:gd name="T18" fmla="*/ 51 w 102"/>
                    <a:gd name="T19" fmla="*/ 117 h 183"/>
                    <a:gd name="T20" fmla="*/ 72 w 102"/>
                    <a:gd name="T21" fmla="*/ 52 h 183"/>
                    <a:gd name="T22" fmla="*/ 72 w 102"/>
                    <a:gd name="T23" fmla="*/ 105 h 183"/>
                    <a:gd name="T24" fmla="*/ 78 w 102"/>
                    <a:gd name="T25" fmla="*/ 105 h 183"/>
                    <a:gd name="T26" fmla="*/ 78 w 102"/>
                    <a:gd name="T27" fmla="*/ 52 h 183"/>
                    <a:gd name="T28" fmla="*/ 72 w 102"/>
                    <a:gd name="T29" fmla="*/ 52 h 183"/>
                    <a:gd name="T30" fmla="*/ 56 w 102"/>
                    <a:gd name="T31" fmla="*/ 52 h 183"/>
                    <a:gd name="T32" fmla="*/ 56 w 102"/>
                    <a:gd name="T33" fmla="*/ 105 h 183"/>
                    <a:gd name="T34" fmla="*/ 63 w 102"/>
                    <a:gd name="T35" fmla="*/ 105 h 183"/>
                    <a:gd name="T36" fmla="*/ 63 w 102"/>
                    <a:gd name="T37" fmla="*/ 52 h 183"/>
                    <a:gd name="T38" fmla="*/ 56 w 102"/>
                    <a:gd name="T39" fmla="*/ 52 h 183"/>
                    <a:gd name="T40" fmla="*/ 40 w 102"/>
                    <a:gd name="T41" fmla="*/ 52 h 183"/>
                    <a:gd name="T42" fmla="*/ 40 w 102"/>
                    <a:gd name="T43" fmla="*/ 105 h 183"/>
                    <a:gd name="T44" fmla="*/ 47 w 102"/>
                    <a:gd name="T45" fmla="*/ 105 h 183"/>
                    <a:gd name="T46" fmla="*/ 47 w 102"/>
                    <a:gd name="T47" fmla="*/ 52 h 183"/>
                    <a:gd name="T48" fmla="*/ 40 w 102"/>
                    <a:gd name="T49" fmla="*/ 52 h 183"/>
                    <a:gd name="T50" fmla="*/ 24 w 102"/>
                    <a:gd name="T51" fmla="*/ 52 h 183"/>
                    <a:gd name="T52" fmla="*/ 24 w 102"/>
                    <a:gd name="T53" fmla="*/ 105 h 183"/>
                    <a:gd name="T54" fmla="*/ 31 w 102"/>
                    <a:gd name="T55" fmla="*/ 105 h 183"/>
                    <a:gd name="T56" fmla="*/ 31 w 102"/>
                    <a:gd name="T57" fmla="*/ 52 h 183"/>
                    <a:gd name="T58" fmla="*/ 24 w 102"/>
                    <a:gd name="T59" fmla="*/ 52 h 183"/>
                    <a:gd name="T60" fmla="*/ 13 w 102"/>
                    <a:gd name="T61" fmla="*/ 15 h 183"/>
                    <a:gd name="T62" fmla="*/ 11 w 102"/>
                    <a:gd name="T63" fmla="*/ 17 h 183"/>
                    <a:gd name="T64" fmla="*/ 11 w 102"/>
                    <a:gd name="T65" fmla="*/ 26 h 183"/>
                    <a:gd name="T66" fmla="*/ 13 w 102"/>
                    <a:gd name="T67" fmla="*/ 28 h 183"/>
                    <a:gd name="T68" fmla="*/ 89 w 102"/>
                    <a:gd name="T69" fmla="*/ 28 h 183"/>
                    <a:gd name="T70" fmla="*/ 91 w 102"/>
                    <a:gd name="T71" fmla="*/ 26 h 183"/>
                    <a:gd name="T72" fmla="*/ 91 w 102"/>
                    <a:gd name="T73" fmla="*/ 17 h 183"/>
                    <a:gd name="T74" fmla="*/ 89 w 102"/>
                    <a:gd name="T75" fmla="*/ 15 h 183"/>
                    <a:gd name="T76" fmla="*/ 13 w 102"/>
                    <a:gd name="T77" fmla="*/ 15 h 183"/>
                    <a:gd name="T78" fmla="*/ 5 w 102"/>
                    <a:gd name="T79" fmla="*/ 0 h 183"/>
                    <a:gd name="T80" fmla="*/ 97 w 102"/>
                    <a:gd name="T81" fmla="*/ 0 h 183"/>
                    <a:gd name="T82" fmla="*/ 102 w 102"/>
                    <a:gd name="T83" fmla="*/ 5 h 183"/>
                    <a:gd name="T84" fmla="*/ 102 w 102"/>
                    <a:gd name="T85" fmla="*/ 174 h 183"/>
                    <a:gd name="T86" fmla="*/ 97 w 102"/>
                    <a:gd name="T87" fmla="*/ 180 h 183"/>
                    <a:gd name="T88" fmla="*/ 91 w 102"/>
                    <a:gd name="T89" fmla="*/ 180 h 183"/>
                    <a:gd name="T90" fmla="*/ 91 w 102"/>
                    <a:gd name="T91" fmla="*/ 183 h 183"/>
                    <a:gd name="T92" fmla="*/ 11 w 102"/>
                    <a:gd name="T93" fmla="*/ 183 h 183"/>
                    <a:gd name="T94" fmla="*/ 11 w 102"/>
                    <a:gd name="T95" fmla="*/ 180 h 183"/>
                    <a:gd name="T96" fmla="*/ 5 w 102"/>
                    <a:gd name="T97" fmla="*/ 180 h 183"/>
                    <a:gd name="T98" fmla="*/ 0 w 102"/>
                    <a:gd name="T99" fmla="*/ 174 h 183"/>
                    <a:gd name="T100" fmla="*/ 0 w 102"/>
                    <a:gd name="T101" fmla="*/ 5 h 183"/>
                    <a:gd name="T102" fmla="*/ 5 w 102"/>
                    <a:gd name="T10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 h="183">
                      <a:moveTo>
                        <a:pt x="51" y="142"/>
                      </a:moveTo>
                      <a:cubicBezTo>
                        <a:pt x="48" y="142"/>
                        <a:pt x="45" y="145"/>
                        <a:pt x="45" y="148"/>
                      </a:cubicBezTo>
                      <a:cubicBezTo>
                        <a:pt x="45" y="151"/>
                        <a:pt x="48" y="154"/>
                        <a:pt x="51" y="154"/>
                      </a:cubicBezTo>
                      <a:cubicBezTo>
                        <a:pt x="54" y="154"/>
                        <a:pt x="57" y="151"/>
                        <a:pt x="57" y="148"/>
                      </a:cubicBezTo>
                      <a:cubicBezTo>
                        <a:pt x="57" y="145"/>
                        <a:pt x="54" y="142"/>
                        <a:pt x="51" y="142"/>
                      </a:cubicBezTo>
                      <a:close/>
                      <a:moveTo>
                        <a:pt x="51" y="117"/>
                      </a:moveTo>
                      <a:cubicBezTo>
                        <a:pt x="45" y="117"/>
                        <a:pt x="40" y="122"/>
                        <a:pt x="40" y="128"/>
                      </a:cubicBezTo>
                      <a:cubicBezTo>
                        <a:pt x="40" y="134"/>
                        <a:pt x="45" y="139"/>
                        <a:pt x="51" y="139"/>
                      </a:cubicBezTo>
                      <a:cubicBezTo>
                        <a:pt x="57" y="139"/>
                        <a:pt x="62" y="134"/>
                        <a:pt x="62" y="128"/>
                      </a:cubicBezTo>
                      <a:cubicBezTo>
                        <a:pt x="62" y="122"/>
                        <a:pt x="57" y="117"/>
                        <a:pt x="51" y="117"/>
                      </a:cubicBezTo>
                      <a:close/>
                      <a:moveTo>
                        <a:pt x="72" y="52"/>
                      </a:moveTo>
                      <a:cubicBezTo>
                        <a:pt x="72" y="105"/>
                        <a:pt x="72" y="105"/>
                        <a:pt x="72" y="105"/>
                      </a:cubicBezTo>
                      <a:cubicBezTo>
                        <a:pt x="78" y="105"/>
                        <a:pt x="78" y="105"/>
                        <a:pt x="78" y="105"/>
                      </a:cubicBezTo>
                      <a:cubicBezTo>
                        <a:pt x="78" y="52"/>
                        <a:pt x="78" y="52"/>
                        <a:pt x="78" y="52"/>
                      </a:cubicBezTo>
                      <a:cubicBezTo>
                        <a:pt x="72" y="52"/>
                        <a:pt x="72" y="52"/>
                        <a:pt x="72" y="52"/>
                      </a:cubicBezTo>
                      <a:close/>
                      <a:moveTo>
                        <a:pt x="56" y="52"/>
                      </a:moveTo>
                      <a:cubicBezTo>
                        <a:pt x="56" y="105"/>
                        <a:pt x="56" y="105"/>
                        <a:pt x="56" y="105"/>
                      </a:cubicBezTo>
                      <a:cubicBezTo>
                        <a:pt x="63" y="105"/>
                        <a:pt x="63" y="105"/>
                        <a:pt x="63" y="105"/>
                      </a:cubicBezTo>
                      <a:cubicBezTo>
                        <a:pt x="63" y="52"/>
                        <a:pt x="63" y="52"/>
                        <a:pt x="63" y="52"/>
                      </a:cubicBezTo>
                      <a:cubicBezTo>
                        <a:pt x="56" y="52"/>
                        <a:pt x="56" y="52"/>
                        <a:pt x="56" y="52"/>
                      </a:cubicBezTo>
                      <a:close/>
                      <a:moveTo>
                        <a:pt x="40" y="52"/>
                      </a:moveTo>
                      <a:cubicBezTo>
                        <a:pt x="40" y="105"/>
                        <a:pt x="40" y="105"/>
                        <a:pt x="40" y="105"/>
                      </a:cubicBezTo>
                      <a:cubicBezTo>
                        <a:pt x="47" y="105"/>
                        <a:pt x="47" y="105"/>
                        <a:pt x="47" y="105"/>
                      </a:cubicBezTo>
                      <a:cubicBezTo>
                        <a:pt x="47" y="52"/>
                        <a:pt x="47" y="52"/>
                        <a:pt x="47" y="52"/>
                      </a:cubicBezTo>
                      <a:cubicBezTo>
                        <a:pt x="40" y="52"/>
                        <a:pt x="40" y="52"/>
                        <a:pt x="40" y="52"/>
                      </a:cubicBezTo>
                      <a:close/>
                      <a:moveTo>
                        <a:pt x="24" y="52"/>
                      </a:moveTo>
                      <a:cubicBezTo>
                        <a:pt x="24" y="105"/>
                        <a:pt x="24" y="105"/>
                        <a:pt x="24" y="105"/>
                      </a:cubicBezTo>
                      <a:cubicBezTo>
                        <a:pt x="31" y="105"/>
                        <a:pt x="31" y="105"/>
                        <a:pt x="31" y="105"/>
                      </a:cubicBezTo>
                      <a:cubicBezTo>
                        <a:pt x="31" y="52"/>
                        <a:pt x="31" y="52"/>
                        <a:pt x="31" y="52"/>
                      </a:cubicBezTo>
                      <a:cubicBezTo>
                        <a:pt x="24" y="52"/>
                        <a:pt x="24" y="52"/>
                        <a:pt x="24" y="52"/>
                      </a:cubicBezTo>
                      <a:close/>
                      <a:moveTo>
                        <a:pt x="13" y="15"/>
                      </a:moveTo>
                      <a:cubicBezTo>
                        <a:pt x="12" y="15"/>
                        <a:pt x="11" y="16"/>
                        <a:pt x="11" y="17"/>
                      </a:cubicBezTo>
                      <a:cubicBezTo>
                        <a:pt x="11" y="26"/>
                        <a:pt x="11" y="26"/>
                        <a:pt x="11" y="26"/>
                      </a:cubicBezTo>
                      <a:cubicBezTo>
                        <a:pt x="11" y="27"/>
                        <a:pt x="12" y="28"/>
                        <a:pt x="13" y="28"/>
                      </a:cubicBezTo>
                      <a:cubicBezTo>
                        <a:pt x="89" y="28"/>
                        <a:pt x="89" y="28"/>
                        <a:pt x="89" y="28"/>
                      </a:cubicBezTo>
                      <a:cubicBezTo>
                        <a:pt x="90" y="28"/>
                        <a:pt x="91" y="27"/>
                        <a:pt x="91" y="26"/>
                      </a:cubicBezTo>
                      <a:cubicBezTo>
                        <a:pt x="91" y="17"/>
                        <a:pt x="91" y="17"/>
                        <a:pt x="91" y="17"/>
                      </a:cubicBezTo>
                      <a:cubicBezTo>
                        <a:pt x="91" y="16"/>
                        <a:pt x="90" y="15"/>
                        <a:pt x="89" y="15"/>
                      </a:cubicBezTo>
                      <a:lnTo>
                        <a:pt x="13" y="15"/>
                      </a:lnTo>
                      <a:close/>
                      <a:moveTo>
                        <a:pt x="5" y="0"/>
                      </a:moveTo>
                      <a:cubicBezTo>
                        <a:pt x="97" y="0"/>
                        <a:pt x="97" y="0"/>
                        <a:pt x="97" y="0"/>
                      </a:cubicBezTo>
                      <a:cubicBezTo>
                        <a:pt x="100" y="0"/>
                        <a:pt x="102" y="3"/>
                        <a:pt x="102" y="5"/>
                      </a:cubicBezTo>
                      <a:cubicBezTo>
                        <a:pt x="102" y="174"/>
                        <a:pt x="102" y="174"/>
                        <a:pt x="102" y="174"/>
                      </a:cubicBezTo>
                      <a:cubicBezTo>
                        <a:pt x="102" y="177"/>
                        <a:pt x="100" y="180"/>
                        <a:pt x="97" y="180"/>
                      </a:cubicBezTo>
                      <a:cubicBezTo>
                        <a:pt x="91" y="180"/>
                        <a:pt x="91" y="180"/>
                        <a:pt x="91" y="180"/>
                      </a:cubicBezTo>
                      <a:cubicBezTo>
                        <a:pt x="91" y="183"/>
                        <a:pt x="91" y="183"/>
                        <a:pt x="91" y="183"/>
                      </a:cubicBezTo>
                      <a:cubicBezTo>
                        <a:pt x="11" y="183"/>
                        <a:pt x="11" y="183"/>
                        <a:pt x="11" y="183"/>
                      </a:cubicBezTo>
                      <a:cubicBezTo>
                        <a:pt x="11" y="180"/>
                        <a:pt x="11" y="180"/>
                        <a:pt x="11" y="180"/>
                      </a:cubicBezTo>
                      <a:cubicBezTo>
                        <a:pt x="5" y="180"/>
                        <a:pt x="5" y="180"/>
                        <a:pt x="5" y="180"/>
                      </a:cubicBezTo>
                      <a:cubicBezTo>
                        <a:pt x="2" y="180"/>
                        <a:pt x="0" y="177"/>
                        <a:pt x="0" y="174"/>
                      </a:cubicBezTo>
                      <a:cubicBezTo>
                        <a:pt x="0" y="5"/>
                        <a:pt x="0" y="5"/>
                        <a:pt x="0" y="5"/>
                      </a:cubicBezTo>
                      <a:cubicBezTo>
                        <a:pt x="0" y="3"/>
                        <a:pt x="2" y="0"/>
                        <a:pt x="5" y="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9" name="Freeform 216"/>
                <p:cNvSpPr>
                  <a:spLocks noEditPoints="1"/>
                </p:cNvSpPr>
                <p:nvPr/>
              </p:nvSpPr>
              <p:spPr bwMode="auto">
                <a:xfrm flipH="1">
                  <a:off x="11096289" y="1199709"/>
                  <a:ext cx="176096" cy="264099"/>
                </a:xfrm>
                <a:custGeom>
                  <a:avLst/>
                  <a:gdLst>
                    <a:gd name="T0" fmla="*/ 112 w 160"/>
                    <a:gd name="T1" fmla="*/ 211 h 232"/>
                    <a:gd name="T2" fmla="*/ 99 w 160"/>
                    <a:gd name="T3" fmla="*/ 202 h 232"/>
                    <a:gd name="T4" fmla="*/ 93 w 160"/>
                    <a:gd name="T5" fmla="*/ 215 h 232"/>
                    <a:gd name="T6" fmla="*/ 110 w 160"/>
                    <a:gd name="T7" fmla="*/ 196 h 232"/>
                    <a:gd name="T8" fmla="*/ 119 w 160"/>
                    <a:gd name="T9" fmla="*/ 202 h 232"/>
                    <a:gd name="T10" fmla="*/ 107 w 160"/>
                    <a:gd name="T11" fmla="*/ 208 h 232"/>
                    <a:gd name="T12" fmla="*/ 108 w 160"/>
                    <a:gd name="T13" fmla="*/ 194 h 232"/>
                    <a:gd name="T14" fmla="*/ 119 w 160"/>
                    <a:gd name="T15" fmla="*/ 198 h 232"/>
                    <a:gd name="T16" fmla="*/ 114 w 160"/>
                    <a:gd name="T17" fmla="*/ 192 h 232"/>
                    <a:gd name="T18" fmla="*/ 105 w 160"/>
                    <a:gd name="T19" fmla="*/ 186 h 232"/>
                    <a:gd name="T20" fmla="*/ 107 w 160"/>
                    <a:gd name="T21" fmla="*/ 192 h 232"/>
                    <a:gd name="T22" fmla="*/ 105 w 160"/>
                    <a:gd name="T23" fmla="*/ 186 h 232"/>
                    <a:gd name="T24" fmla="*/ 114 w 160"/>
                    <a:gd name="T25" fmla="*/ 184 h 232"/>
                    <a:gd name="T26" fmla="*/ 111 w 160"/>
                    <a:gd name="T27" fmla="*/ 189 h 232"/>
                    <a:gd name="T28" fmla="*/ 108 w 160"/>
                    <a:gd name="T29" fmla="*/ 184 h 232"/>
                    <a:gd name="T30" fmla="*/ 112 w 160"/>
                    <a:gd name="T31" fmla="*/ 178 h 232"/>
                    <a:gd name="T32" fmla="*/ 66 w 160"/>
                    <a:gd name="T33" fmla="*/ 79 h 232"/>
                    <a:gd name="T34" fmla="*/ 76 w 160"/>
                    <a:gd name="T35" fmla="*/ 74 h 232"/>
                    <a:gd name="T36" fmla="*/ 82 w 160"/>
                    <a:gd name="T37" fmla="*/ 177 h 232"/>
                    <a:gd name="T38" fmla="*/ 105 w 160"/>
                    <a:gd name="T39" fmla="*/ 180 h 232"/>
                    <a:gd name="T40" fmla="*/ 98 w 160"/>
                    <a:gd name="T41" fmla="*/ 196 h 232"/>
                    <a:gd name="T42" fmla="*/ 95 w 160"/>
                    <a:gd name="T43" fmla="*/ 201 h 232"/>
                    <a:gd name="T44" fmla="*/ 86 w 160"/>
                    <a:gd name="T45" fmla="*/ 216 h 232"/>
                    <a:gd name="T46" fmla="*/ 86 w 160"/>
                    <a:gd name="T47" fmla="*/ 221 h 232"/>
                    <a:gd name="T48" fmla="*/ 86 w 160"/>
                    <a:gd name="T49" fmla="*/ 227 h 232"/>
                    <a:gd name="T50" fmla="*/ 91 w 160"/>
                    <a:gd name="T51" fmla="*/ 222 h 232"/>
                    <a:gd name="T52" fmla="*/ 92 w 160"/>
                    <a:gd name="T53" fmla="*/ 217 h 232"/>
                    <a:gd name="T54" fmla="*/ 111 w 160"/>
                    <a:gd name="T55" fmla="*/ 214 h 232"/>
                    <a:gd name="T56" fmla="*/ 124 w 160"/>
                    <a:gd name="T57" fmla="*/ 221 h 232"/>
                    <a:gd name="T58" fmla="*/ 125 w 160"/>
                    <a:gd name="T59" fmla="*/ 225 h 232"/>
                    <a:gd name="T60" fmla="*/ 123 w 160"/>
                    <a:gd name="T61" fmla="*/ 230 h 232"/>
                    <a:gd name="T62" fmla="*/ 129 w 160"/>
                    <a:gd name="T63" fmla="*/ 231 h 232"/>
                    <a:gd name="T64" fmla="*/ 128 w 160"/>
                    <a:gd name="T65" fmla="*/ 225 h 232"/>
                    <a:gd name="T66" fmla="*/ 127 w 160"/>
                    <a:gd name="T67" fmla="*/ 217 h 232"/>
                    <a:gd name="T68" fmla="*/ 126 w 160"/>
                    <a:gd name="T69" fmla="*/ 201 h 232"/>
                    <a:gd name="T70" fmla="*/ 120 w 160"/>
                    <a:gd name="T71" fmla="*/ 187 h 232"/>
                    <a:gd name="T72" fmla="*/ 117 w 160"/>
                    <a:gd name="T73" fmla="*/ 177 h 232"/>
                    <a:gd name="T74" fmla="*/ 125 w 160"/>
                    <a:gd name="T75" fmla="*/ 173 h 232"/>
                    <a:gd name="T76" fmla="*/ 155 w 160"/>
                    <a:gd name="T77" fmla="*/ 80 h 232"/>
                    <a:gd name="T78" fmla="*/ 66 w 160"/>
                    <a:gd name="T79" fmla="*/ 78 h 232"/>
                    <a:gd name="T80" fmla="*/ 66 w 160"/>
                    <a:gd name="T81" fmla="*/ 43 h 232"/>
                    <a:gd name="T82" fmla="*/ 48 w 160"/>
                    <a:gd name="T83" fmla="*/ 61 h 232"/>
                    <a:gd name="T84" fmla="*/ 66 w 160"/>
                    <a:gd name="T85" fmla="*/ 43 h 232"/>
                    <a:gd name="T86" fmla="*/ 22 w 160"/>
                    <a:gd name="T87" fmla="*/ 58 h 232"/>
                    <a:gd name="T88" fmla="*/ 62 w 160"/>
                    <a:gd name="T89" fmla="*/ 33 h 232"/>
                    <a:gd name="T90" fmla="*/ 54 w 160"/>
                    <a:gd name="T91" fmla="*/ 0 h 232"/>
                    <a:gd name="T92" fmla="*/ 13 w 160"/>
                    <a:gd name="T93" fmla="*/ 49 h 232"/>
                    <a:gd name="T94" fmla="*/ 59 w 160"/>
                    <a:gd name="T95" fmla="*/ 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232">
                      <a:moveTo>
                        <a:pt x="120" y="204"/>
                      </a:moveTo>
                      <a:cubicBezTo>
                        <a:pt x="123" y="218"/>
                        <a:pt x="123" y="218"/>
                        <a:pt x="123" y="218"/>
                      </a:cubicBezTo>
                      <a:cubicBezTo>
                        <a:pt x="112" y="211"/>
                        <a:pt x="112" y="211"/>
                        <a:pt x="112" y="211"/>
                      </a:cubicBezTo>
                      <a:cubicBezTo>
                        <a:pt x="112" y="210"/>
                        <a:pt x="112" y="210"/>
                        <a:pt x="112" y="210"/>
                      </a:cubicBezTo>
                      <a:cubicBezTo>
                        <a:pt x="120" y="204"/>
                        <a:pt x="120" y="204"/>
                        <a:pt x="120" y="204"/>
                      </a:cubicBezTo>
                      <a:close/>
                      <a:moveTo>
                        <a:pt x="99" y="202"/>
                      </a:moveTo>
                      <a:cubicBezTo>
                        <a:pt x="106" y="210"/>
                        <a:pt x="106" y="210"/>
                        <a:pt x="106" y="210"/>
                      </a:cubicBezTo>
                      <a:cubicBezTo>
                        <a:pt x="106" y="210"/>
                        <a:pt x="106" y="210"/>
                        <a:pt x="106" y="210"/>
                      </a:cubicBezTo>
                      <a:cubicBezTo>
                        <a:pt x="93" y="215"/>
                        <a:pt x="93" y="215"/>
                        <a:pt x="93" y="215"/>
                      </a:cubicBezTo>
                      <a:cubicBezTo>
                        <a:pt x="99" y="202"/>
                        <a:pt x="99" y="202"/>
                        <a:pt x="99" y="202"/>
                      </a:cubicBezTo>
                      <a:close/>
                      <a:moveTo>
                        <a:pt x="108" y="194"/>
                      </a:moveTo>
                      <a:cubicBezTo>
                        <a:pt x="108" y="195"/>
                        <a:pt x="109" y="196"/>
                        <a:pt x="110" y="196"/>
                      </a:cubicBezTo>
                      <a:cubicBezTo>
                        <a:pt x="111" y="196"/>
                        <a:pt x="112" y="195"/>
                        <a:pt x="112" y="195"/>
                      </a:cubicBezTo>
                      <a:cubicBezTo>
                        <a:pt x="119" y="202"/>
                        <a:pt x="119" y="202"/>
                        <a:pt x="119" y="202"/>
                      </a:cubicBezTo>
                      <a:cubicBezTo>
                        <a:pt x="119" y="202"/>
                        <a:pt x="119" y="202"/>
                        <a:pt x="119" y="202"/>
                      </a:cubicBezTo>
                      <a:cubicBezTo>
                        <a:pt x="111" y="209"/>
                        <a:pt x="111" y="209"/>
                        <a:pt x="111" y="209"/>
                      </a:cubicBezTo>
                      <a:cubicBezTo>
                        <a:pt x="110" y="208"/>
                        <a:pt x="110" y="208"/>
                        <a:pt x="109" y="208"/>
                      </a:cubicBezTo>
                      <a:cubicBezTo>
                        <a:pt x="108" y="208"/>
                        <a:pt x="108" y="208"/>
                        <a:pt x="107" y="208"/>
                      </a:cubicBezTo>
                      <a:cubicBezTo>
                        <a:pt x="100" y="200"/>
                        <a:pt x="100" y="200"/>
                        <a:pt x="100" y="200"/>
                      </a:cubicBezTo>
                      <a:cubicBezTo>
                        <a:pt x="100" y="200"/>
                        <a:pt x="100" y="200"/>
                        <a:pt x="100" y="200"/>
                      </a:cubicBezTo>
                      <a:lnTo>
                        <a:pt x="108" y="194"/>
                      </a:lnTo>
                      <a:close/>
                      <a:moveTo>
                        <a:pt x="116" y="188"/>
                      </a:moveTo>
                      <a:cubicBezTo>
                        <a:pt x="117" y="188"/>
                        <a:pt x="117" y="188"/>
                        <a:pt x="117" y="188"/>
                      </a:cubicBezTo>
                      <a:cubicBezTo>
                        <a:pt x="119" y="198"/>
                        <a:pt x="119" y="198"/>
                        <a:pt x="119" y="198"/>
                      </a:cubicBezTo>
                      <a:cubicBezTo>
                        <a:pt x="113" y="193"/>
                        <a:pt x="113" y="193"/>
                        <a:pt x="113" y="193"/>
                      </a:cubicBezTo>
                      <a:cubicBezTo>
                        <a:pt x="114" y="193"/>
                        <a:pt x="114" y="193"/>
                        <a:pt x="114" y="193"/>
                      </a:cubicBezTo>
                      <a:cubicBezTo>
                        <a:pt x="114" y="192"/>
                        <a:pt x="114" y="192"/>
                        <a:pt x="114" y="192"/>
                      </a:cubicBezTo>
                      <a:cubicBezTo>
                        <a:pt x="114" y="192"/>
                        <a:pt x="113" y="191"/>
                        <a:pt x="113" y="191"/>
                      </a:cubicBezTo>
                      <a:lnTo>
                        <a:pt x="116" y="188"/>
                      </a:lnTo>
                      <a:close/>
                      <a:moveTo>
                        <a:pt x="105" y="186"/>
                      </a:moveTo>
                      <a:cubicBezTo>
                        <a:pt x="108" y="190"/>
                        <a:pt x="108" y="190"/>
                        <a:pt x="108" y="190"/>
                      </a:cubicBezTo>
                      <a:cubicBezTo>
                        <a:pt x="107" y="191"/>
                        <a:pt x="107" y="191"/>
                        <a:pt x="107" y="192"/>
                      </a:cubicBezTo>
                      <a:cubicBezTo>
                        <a:pt x="107" y="192"/>
                        <a:pt x="107" y="192"/>
                        <a:pt x="107" y="192"/>
                      </a:cubicBezTo>
                      <a:cubicBezTo>
                        <a:pt x="101" y="196"/>
                        <a:pt x="101" y="196"/>
                        <a:pt x="101" y="196"/>
                      </a:cubicBezTo>
                      <a:cubicBezTo>
                        <a:pt x="105" y="187"/>
                        <a:pt x="105" y="187"/>
                        <a:pt x="105" y="187"/>
                      </a:cubicBezTo>
                      <a:cubicBezTo>
                        <a:pt x="105" y="186"/>
                        <a:pt x="105" y="186"/>
                        <a:pt x="105" y="186"/>
                      </a:cubicBezTo>
                      <a:close/>
                      <a:moveTo>
                        <a:pt x="115" y="178"/>
                      </a:moveTo>
                      <a:cubicBezTo>
                        <a:pt x="116" y="182"/>
                        <a:pt x="116" y="182"/>
                        <a:pt x="116" y="182"/>
                      </a:cubicBezTo>
                      <a:cubicBezTo>
                        <a:pt x="115" y="183"/>
                        <a:pt x="115" y="183"/>
                        <a:pt x="114" y="184"/>
                      </a:cubicBezTo>
                      <a:cubicBezTo>
                        <a:pt x="114" y="185"/>
                        <a:pt x="115" y="186"/>
                        <a:pt x="115" y="186"/>
                      </a:cubicBezTo>
                      <a:cubicBezTo>
                        <a:pt x="112" y="189"/>
                        <a:pt x="112" y="189"/>
                        <a:pt x="112" y="189"/>
                      </a:cubicBezTo>
                      <a:cubicBezTo>
                        <a:pt x="111" y="189"/>
                        <a:pt x="111" y="189"/>
                        <a:pt x="111" y="189"/>
                      </a:cubicBezTo>
                      <a:cubicBezTo>
                        <a:pt x="110" y="189"/>
                        <a:pt x="110" y="189"/>
                        <a:pt x="110" y="189"/>
                      </a:cubicBezTo>
                      <a:cubicBezTo>
                        <a:pt x="107" y="185"/>
                        <a:pt x="107" y="185"/>
                        <a:pt x="107" y="185"/>
                      </a:cubicBezTo>
                      <a:cubicBezTo>
                        <a:pt x="108" y="185"/>
                        <a:pt x="108" y="184"/>
                        <a:pt x="108" y="184"/>
                      </a:cubicBezTo>
                      <a:cubicBezTo>
                        <a:pt x="108" y="183"/>
                        <a:pt x="108" y="182"/>
                        <a:pt x="107" y="181"/>
                      </a:cubicBezTo>
                      <a:cubicBezTo>
                        <a:pt x="109" y="177"/>
                        <a:pt x="109" y="177"/>
                        <a:pt x="109" y="177"/>
                      </a:cubicBezTo>
                      <a:cubicBezTo>
                        <a:pt x="110" y="178"/>
                        <a:pt x="111" y="178"/>
                        <a:pt x="112" y="178"/>
                      </a:cubicBezTo>
                      <a:cubicBezTo>
                        <a:pt x="113" y="178"/>
                        <a:pt x="114" y="178"/>
                        <a:pt x="115" y="178"/>
                      </a:cubicBezTo>
                      <a:close/>
                      <a:moveTo>
                        <a:pt x="76" y="74"/>
                      </a:moveTo>
                      <a:cubicBezTo>
                        <a:pt x="74" y="77"/>
                        <a:pt x="71" y="80"/>
                        <a:pt x="66" y="79"/>
                      </a:cubicBezTo>
                      <a:cubicBezTo>
                        <a:pt x="84" y="116"/>
                        <a:pt x="84" y="116"/>
                        <a:pt x="84" y="116"/>
                      </a:cubicBezTo>
                      <a:cubicBezTo>
                        <a:pt x="88" y="114"/>
                        <a:pt x="94" y="110"/>
                        <a:pt x="97" y="108"/>
                      </a:cubicBezTo>
                      <a:cubicBezTo>
                        <a:pt x="91" y="96"/>
                        <a:pt x="83" y="86"/>
                        <a:pt x="76" y="74"/>
                      </a:cubicBezTo>
                      <a:close/>
                      <a:moveTo>
                        <a:pt x="155" y="80"/>
                      </a:moveTo>
                      <a:cubicBezTo>
                        <a:pt x="31" y="148"/>
                        <a:pt x="31" y="148"/>
                        <a:pt x="31" y="148"/>
                      </a:cubicBezTo>
                      <a:cubicBezTo>
                        <a:pt x="42" y="164"/>
                        <a:pt x="60" y="175"/>
                        <a:pt x="82" y="177"/>
                      </a:cubicBezTo>
                      <a:cubicBezTo>
                        <a:pt x="90" y="178"/>
                        <a:pt x="98" y="177"/>
                        <a:pt x="106" y="175"/>
                      </a:cubicBezTo>
                      <a:cubicBezTo>
                        <a:pt x="107" y="176"/>
                        <a:pt x="107" y="176"/>
                        <a:pt x="107" y="176"/>
                      </a:cubicBezTo>
                      <a:cubicBezTo>
                        <a:pt x="105" y="180"/>
                        <a:pt x="105" y="180"/>
                        <a:pt x="105" y="180"/>
                      </a:cubicBezTo>
                      <a:cubicBezTo>
                        <a:pt x="103" y="180"/>
                        <a:pt x="102" y="181"/>
                        <a:pt x="102" y="183"/>
                      </a:cubicBezTo>
                      <a:cubicBezTo>
                        <a:pt x="102" y="184"/>
                        <a:pt x="102" y="185"/>
                        <a:pt x="102" y="186"/>
                      </a:cubicBezTo>
                      <a:cubicBezTo>
                        <a:pt x="98" y="196"/>
                        <a:pt x="98" y="196"/>
                        <a:pt x="98" y="196"/>
                      </a:cubicBezTo>
                      <a:cubicBezTo>
                        <a:pt x="97" y="195"/>
                        <a:pt x="97" y="195"/>
                        <a:pt x="97" y="195"/>
                      </a:cubicBezTo>
                      <a:cubicBezTo>
                        <a:pt x="95" y="195"/>
                        <a:pt x="94" y="197"/>
                        <a:pt x="94" y="198"/>
                      </a:cubicBezTo>
                      <a:cubicBezTo>
                        <a:pt x="94" y="200"/>
                        <a:pt x="94" y="201"/>
                        <a:pt x="95" y="201"/>
                      </a:cubicBezTo>
                      <a:cubicBezTo>
                        <a:pt x="90" y="214"/>
                        <a:pt x="90" y="214"/>
                        <a:pt x="90" y="214"/>
                      </a:cubicBezTo>
                      <a:cubicBezTo>
                        <a:pt x="89" y="213"/>
                        <a:pt x="89" y="213"/>
                        <a:pt x="89" y="213"/>
                      </a:cubicBezTo>
                      <a:cubicBezTo>
                        <a:pt x="87" y="213"/>
                        <a:pt x="86" y="215"/>
                        <a:pt x="86" y="216"/>
                      </a:cubicBezTo>
                      <a:cubicBezTo>
                        <a:pt x="85" y="218"/>
                        <a:pt x="86" y="219"/>
                        <a:pt x="87" y="220"/>
                      </a:cubicBezTo>
                      <a:cubicBezTo>
                        <a:pt x="87" y="221"/>
                        <a:pt x="87" y="221"/>
                        <a:pt x="87" y="221"/>
                      </a:cubicBezTo>
                      <a:cubicBezTo>
                        <a:pt x="86" y="221"/>
                        <a:pt x="86" y="221"/>
                        <a:pt x="86" y="221"/>
                      </a:cubicBezTo>
                      <a:cubicBezTo>
                        <a:pt x="86" y="221"/>
                        <a:pt x="85" y="221"/>
                        <a:pt x="85" y="222"/>
                      </a:cubicBezTo>
                      <a:cubicBezTo>
                        <a:pt x="85" y="226"/>
                        <a:pt x="85" y="226"/>
                        <a:pt x="85" y="226"/>
                      </a:cubicBezTo>
                      <a:cubicBezTo>
                        <a:pt x="85" y="227"/>
                        <a:pt x="85" y="227"/>
                        <a:pt x="86" y="227"/>
                      </a:cubicBezTo>
                      <a:cubicBezTo>
                        <a:pt x="90" y="228"/>
                        <a:pt x="90" y="228"/>
                        <a:pt x="90" y="228"/>
                      </a:cubicBezTo>
                      <a:cubicBezTo>
                        <a:pt x="90" y="228"/>
                        <a:pt x="91" y="227"/>
                        <a:pt x="91" y="227"/>
                      </a:cubicBezTo>
                      <a:cubicBezTo>
                        <a:pt x="91" y="222"/>
                        <a:pt x="91" y="222"/>
                        <a:pt x="91" y="222"/>
                      </a:cubicBezTo>
                      <a:cubicBezTo>
                        <a:pt x="91" y="222"/>
                        <a:pt x="91" y="221"/>
                        <a:pt x="90" y="221"/>
                      </a:cubicBezTo>
                      <a:cubicBezTo>
                        <a:pt x="90" y="221"/>
                        <a:pt x="90" y="221"/>
                        <a:pt x="90" y="221"/>
                      </a:cubicBezTo>
                      <a:cubicBezTo>
                        <a:pt x="92" y="217"/>
                        <a:pt x="92" y="217"/>
                        <a:pt x="92" y="217"/>
                      </a:cubicBezTo>
                      <a:cubicBezTo>
                        <a:pt x="106" y="212"/>
                        <a:pt x="106" y="212"/>
                        <a:pt x="106" y="212"/>
                      </a:cubicBezTo>
                      <a:cubicBezTo>
                        <a:pt x="106" y="214"/>
                        <a:pt x="107" y="214"/>
                        <a:pt x="108" y="214"/>
                      </a:cubicBezTo>
                      <a:cubicBezTo>
                        <a:pt x="109" y="215"/>
                        <a:pt x="110" y="214"/>
                        <a:pt x="111" y="214"/>
                      </a:cubicBezTo>
                      <a:cubicBezTo>
                        <a:pt x="111" y="214"/>
                        <a:pt x="111" y="214"/>
                        <a:pt x="111" y="214"/>
                      </a:cubicBezTo>
                      <a:cubicBezTo>
                        <a:pt x="111" y="213"/>
                        <a:pt x="111" y="213"/>
                        <a:pt x="111" y="213"/>
                      </a:cubicBezTo>
                      <a:cubicBezTo>
                        <a:pt x="124" y="221"/>
                        <a:pt x="124" y="221"/>
                        <a:pt x="124" y="221"/>
                      </a:cubicBezTo>
                      <a:cubicBezTo>
                        <a:pt x="124" y="221"/>
                        <a:pt x="124" y="221"/>
                        <a:pt x="124" y="221"/>
                      </a:cubicBezTo>
                      <a:cubicBezTo>
                        <a:pt x="124" y="221"/>
                        <a:pt x="124" y="221"/>
                        <a:pt x="124" y="222"/>
                      </a:cubicBezTo>
                      <a:cubicBezTo>
                        <a:pt x="125" y="225"/>
                        <a:pt x="125" y="225"/>
                        <a:pt x="125" y="225"/>
                      </a:cubicBezTo>
                      <a:cubicBezTo>
                        <a:pt x="125" y="225"/>
                        <a:pt x="125" y="225"/>
                        <a:pt x="125" y="225"/>
                      </a:cubicBezTo>
                      <a:cubicBezTo>
                        <a:pt x="124" y="225"/>
                        <a:pt x="123" y="225"/>
                        <a:pt x="123" y="226"/>
                      </a:cubicBezTo>
                      <a:cubicBezTo>
                        <a:pt x="123" y="230"/>
                        <a:pt x="123" y="230"/>
                        <a:pt x="123" y="230"/>
                      </a:cubicBezTo>
                      <a:cubicBezTo>
                        <a:pt x="123" y="231"/>
                        <a:pt x="123" y="231"/>
                        <a:pt x="124" y="231"/>
                      </a:cubicBezTo>
                      <a:cubicBezTo>
                        <a:pt x="128" y="231"/>
                        <a:pt x="128" y="231"/>
                        <a:pt x="128" y="231"/>
                      </a:cubicBezTo>
                      <a:cubicBezTo>
                        <a:pt x="128" y="232"/>
                        <a:pt x="129" y="231"/>
                        <a:pt x="129" y="231"/>
                      </a:cubicBezTo>
                      <a:cubicBezTo>
                        <a:pt x="129" y="226"/>
                        <a:pt x="129" y="226"/>
                        <a:pt x="129" y="226"/>
                      </a:cubicBezTo>
                      <a:cubicBezTo>
                        <a:pt x="130" y="226"/>
                        <a:pt x="129" y="225"/>
                        <a:pt x="129" y="225"/>
                      </a:cubicBezTo>
                      <a:cubicBezTo>
                        <a:pt x="128" y="225"/>
                        <a:pt x="128" y="225"/>
                        <a:pt x="128" y="225"/>
                      </a:cubicBezTo>
                      <a:cubicBezTo>
                        <a:pt x="128" y="224"/>
                        <a:pt x="128" y="224"/>
                        <a:pt x="128" y="224"/>
                      </a:cubicBezTo>
                      <a:cubicBezTo>
                        <a:pt x="129" y="223"/>
                        <a:pt x="130" y="222"/>
                        <a:pt x="130" y="221"/>
                      </a:cubicBezTo>
                      <a:cubicBezTo>
                        <a:pt x="130" y="219"/>
                        <a:pt x="129" y="217"/>
                        <a:pt x="127" y="217"/>
                      </a:cubicBezTo>
                      <a:cubicBezTo>
                        <a:pt x="126" y="217"/>
                        <a:pt x="126" y="217"/>
                        <a:pt x="126" y="217"/>
                      </a:cubicBezTo>
                      <a:cubicBezTo>
                        <a:pt x="123" y="204"/>
                        <a:pt x="123" y="204"/>
                        <a:pt x="123" y="204"/>
                      </a:cubicBezTo>
                      <a:cubicBezTo>
                        <a:pt x="125" y="204"/>
                        <a:pt x="125" y="203"/>
                        <a:pt x="126" y="201"/>
                      </a:cubicBezTo>
                      <a:cubicBezTo>
                        <a:pt x="126" y="200"/>
                        <a:pt x="124" y="198"/>
                        <a:pt x="123" y="198"/>
                      </a:cubicBezTo>
                      <a:cubicBezTo>
                        <a:pt x="122" y="198"/>
                        <a:pt x="122" y="198"/>
                        <a:pt x="122" y="198"/>
                      </a:cubicBezTo>
                      <a:cubicBezTo>
                        <a:pt x="120" y="187"/>
                        <a:pt x="120" y="187"/>
                        <a:pt x="120" y="187"/>
                      </a:cubicBezTo>
                      <a:cubicBezTo>
                        <a:pt x="120" y="187"/>
                        <a:pt x="121" y="186"/>
                        <a:pt x="121" y="185"/>
                      </a:cubicBezTo>
                      <a:cubicBezTo>
                        <a:pt x="121" y="183"/>
                        <a:pt x="120" y="182"/>
                        <a:pt x="118" y="182"/>
                      </a:cubicBezTo>
                      <a:cubicBezTo>
                        <a:pt x="117" y="177"/>
                        <a:pt x="117" y="177"/>
                        <a:pt x="117" y="177"/>
                      </a:cubicBezTo>
                      <a:cubicBezTo>
                        <a:pt x="118" y="176"/>
                        <a:pt x="118" y="176"/>
                        <a:pt x="119" y="175"/>
                      </a:cubicBezTo>
                      <a:cubicBezTo>
                        <a:pt x="122" y="175"/>
                        <a:pt x="122" y="175"/>
                        <a:pt x="122" y="175"/>
                      </a:cubicBezTo>
                      <a:cubicBezTo>
                        <a:pt x="123" y="175"/>
                        <a:pt x="125" y="174"/>
                        <a:pt x="125" y="173"/>
                      </a:cubicBezTo>
                      <a:cubicBezTo>
                        <a:pt x="125" y="167"/>
                        <a:pt x="125" y="167"/>
                        <a:pt x="125" y="167"/>
                      </a:cubicBezTo>
                      <a:cubicBezTo>
                        <a:pt x="144" y="155"/>
                        <a:pt x="157" y="136"/>
                        <a:pt x="159" y="113"/>
                      </a:cubicBezTo>
                      <a:cubicBezTo>
                        <a:pt x="160" y="101"/>
                        <a:pt x="159" y="90"/>
                        <a:pt x="155" y="80"/>
                      </a:cubicBezTo>
                      <a:close/>
                      <a:moveTo>
                        <a:pt x="67" y="59"/>
                      </a:moveTo>
                      <a:cubicBezTo>
                        <a:pt x="62" y="59"/>
                        <a:pt x="57" y="63"/>
                        <a:pt x="57" y="68"/>
                      </a:cubicBezTo>
                      <a:cubicBezTo>
                        <a:pt x="56" y="73"/>
                        <a:pt x="60" y="78"/>
                        <a:pt x="66" y="78"/>
                      </a:cubicBezTo>
                      <a:cubicBezTo>
                        <a:pt x="71" y="79"/>
                        <a:pt x="75" y="75"/>
                        <a:pt x="76" y="70"/>
                      </a:cubicBezTo>
                      <a:cubicBezTo>
                        <a:pt x="76" y="64"/>
                        <a:pt x="73" y="60"/>
                        <a:pt x="67" y="59"/>
                      </a:cubicBezTo>
                      <a:close/>
                      <a:moveTo>
                        <a:pt x="66" y="43"/>
                      </a:moveTo>
                      <a:cubicBezTo>
                        <a:pt x="60" y="42"/>
                        <a:pt x="55" y="44"/>
                        <a:pt x="50" y="48"/>
                      </a:cubicBezTo>
                      <a:cubicBezTo>
                        <a:pt x="46" y="51"/>
                        <a:pt x="43" y="56"/>
                        <a:pt x="43" y="62"/>
                      </a:cubicBezTo>
                      <a:cubicBezTo>
                        <a:pt x="48" y="61"/>
                        <a:pt x="48" y="61"/>
                        <a:pt x="48" y="61"/>
                      </a:cubicBezTo>
                      <a:cubicBezTo>
                        <a:pt x="48" y="58"/>
                        <a:pt x="50" y="54"/>
                        <a:pt x="53" y="51"/>
                      </a:cubicBezTo>
                      <a:cubicBezTo>
                        <a:pt x="57" y="49"/>
                        <a:pt x="61" y="47"/>
                        <a:pt x="64" y="48"/>
                      </a:cubicBezTo>
                      <a:lnTo>
                        <a:pt x="66" y="43"/>
                      </a:lnTo>
                      <a:close/>
                      <a:moveTo>
                        <a:pt x="60" y="23"/>
                      </a:moveTo>
                      <a:cubicBezTo>
                        <a:pt x="51" y="23"/>
                        <a:pt x="42" y="26"/>
                        <a:pt x="35" y="32"/>
                      </a:cubicBezTo>
                      <a:cubicBezTo>
                        <a:pt x="28" y="38"/>
                        <a:pt x="23" y="48"/>
                        <a:pt x="22" y="58"/>
                      </a:cubicBezTo>
                      <a:cubicBezTo>
                        <a:pt x="31" y="58"/>
                        <a:pt x="31" y="58"/>
                        <a:pt x="31" y="58"/>
                      </a:cubicBezTo>
                      <a:cubicBezTo>
                        <a:pt x="32" y="51"/>
                        <a:pt x="35" y="44"/>
                        <a:pt x="41" y="39"/>
                      </a:cubicBezTo>
                      <a:cubicBezTo>
                        <a:pt x="47" y="34"/>
                        <a:pt x="55" y="32"/>
                        <a:pt x="62" y="33"/>
                      </a:cubicBezTo>
                      <a:cubicBezTo>
                        <a:pt x="64" y="24"/>
                        <a:pt x="64" y="24"/>
                        <a:pt x="64" y="24"/>
                      </a:cubicBezTo>
                      <a:cubicBezTo>
                        <a:pt x="63" y="24"/>
                        <a:pt x="61" y="24"/>
                        <a:pt x="60" y="23"/>
                      </a:cubicBezTo>
                      <a:close/>
                      <a:moveTo>
                        <a:pt x="54" y="0"/>
                      </a:moveTo>
                      <a:cubicBezTo>
                        <a:pt x="42" y="0"/>
                        <a:pt x="29" y="4"/>
                        <a:pt x="19" y="12"/>
                      </a:cubicBezTo>
                      <a:cubicBezTo>
                        <a:pt x="8" y="22"/>
                        <a:pt x="1" y="35"/>
                        <a:pt x="0" y="49"/>
                      </a:cubicBezTo>
                      <a:cubicBezTo>
                        <a:pt x="13" y="49"/>
                        <a:pt x="13" y="49"/>
                        <a:pt x="13" y="49"/>
                      </a:cubicBezTo>
                      <a:cubicBezTo>
                        <a:pt x="14" y="39"/>
                        <a:pt x="19" y="29"/>
                        <a:pt x="27" y="22"/>
                      </a:cubicBezTo>
                      <a:cubicBezTo>
                        <a:pt x="35" y="15"/>
                        <a:pt x="46" y="12"/>
                        <a:pt x="56" y="14"/>
                      </a:cubicBezTo>
                      <a:cubicBezTo>
                        <a:pt x="59" y="1"/>
                        <a:pt x="59" y="1"/>
                        <a:pt x="59" y="1"/>
                      </a:cubicBezTo>
                      <a:cubicBezTo>
                        <a:pt x="58" y="1"/>
                        <a:pt x="56" y="1"/>
                        <a:pt x="54" y="0"/>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0" name="Freeform 217"/>
                <p:cNvSpPr>
                  <a:spLocks/>
                </p:cNvSpPr>
                <p:nvPr/>
              </p:nvSpPr>
              <p:spPr bwMode="auto">
                <a:xfrm rot="5400000">
                  <a:off x="11267838" y="-133605"/>
                  <a:ext cx="232853" cy="1574030"/>
                </a:xfrm>
                <a:custGeom>
                  <a:avLst/>
                  <a:gdLst>
                    <a:gd name="T0" fmla="*/ 0 w 212"/>
                    <a:gd name="T1" fmla="*/ 1384 h 1384"/>
                    <a:gd name="T2" fmla="*/ 0 w 212"/>
                    <a:gd name="T3" fmla="*/ 1350 h 1384"/>
                    <a:gd name="T4" fmla="*/ 106 w 212"/>
                    <a:gd name="T5" fmla="*/ 1350 h 1384"/>
                    <a:gd name="T6" fmla="*/ 160 w 212"/>
                    <a:gd name="T7" fmla="*/ 1331 h 1384"/>
                    <a:gd name="T8" fmla="*/ 173 w 212"/>
                    <a:gd name="T9" fmla="*/ 1245 h 1384"/>
                    <a:gd name="T10" fmla="*/ 173 w 212"/>
                    <a:gd name="T11" fmla="*/ 1243 h 1384"/>
                    <a:gd name="T12" fmla="*/ 173 w 212"/>
                    <a:gd name="T13" fmla="*/ 0 h 1384"/>
                    <a:gd name="T14" fmla="*/ 207 w 212"/>
                    <a:gd name="T15" fmla="*/ 0 h 1384"/>
                    <a:gd name="T16" fmla="*/ 207 w 212"/>
                    <a:gd name="T17" fmla="*/ 1242 h 1384"/>
                    <a:gd name="T18" fmla="*/ 186 w 212"/>
                    <a:gd name="T19" fmla="*/ 1354 h 1384"/>
                    <a:gd name="T20" fmla="*/ 106 w 212"/>
                    <a:gd name="T21" fmla="*/ 1384 h 1384"/>
                    <a:gd name="T22" fmla="*/ 0 w 212"/>
                    <a:gd name="T23" fmla="*/ 1384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1384">
                      <a:moveTo>
                        <a:pt x="0" y="1384"/>
                      </a:moveTo>
                      <a:cubicBezTo>
                        <a:pt x="0" y="1350"/>
                        <a:pt x="0" y="1350"/>
                        <a:pt x="0" y="1350"/>
                      </a:cubicBezTo>
                      <a:cubicBezTo>
                        <a:pt x="106" y="1350"/>
                        <a:pt x="106" y="1350"/>
                        <a:pt x="106" y="1350"/>
                      </a:cubicBezTo>
                      <a:cubicBezTo>
                        <a:pt x="132" y="1349"/>
                        <a:pt x="150" y="1343"/>
                        <a:pt x="160" y="1331"/>
                      </a:cubicBezTo>
                      <a:cubicBezTo>
                        <a:pt x="178" y="1312"/>
                        <a:pt x="177" y="1277"/>
                        <a:pt x="173" y="1245"/>
                      </a:cubicBezTo>
                      <a:cubicBezTo>
                        <a:pt x="173" y="1244"/>
                        <a:pt x="173" y="1244"/>
                        <a:pt x="173" y="1243"/>
                      </a:cubicBezTo>
                      <a:cubicBezTo>
                        <a:pt x="173" y="0"/>
                        <a:pt x="173" y="0"/>
                        <a:pt x="173" y="0"/>
                      </a:cubicBezTo>
                      <a:cubicBezTo>
                        <a:pt x="207" y="0"/>
                        <a:pt x="207" y="0"/>
                        <a:pt x="207" y="0"/>
                      </a:cubicBezTo>
                      <a:cubicBezTo>
                        <a:pt x="207" y="1242"/>
                        <a:pt x="207" y="1242"/>
                        <a:pt x="207" y="1242"/>
                      </a:cubicBezTo>
                      <a:cubicBezTo>
                        <a:pt x="211" y="1281"/>
                        <a:pt x="212" y="1325"/>
                        <a:pt x="186" y="1354"/>
                      </a:cubicBezTo>
                      <a:cubicBezTo>
                        <a:pt x="169" y="1373"/>
                        <a:pt x="142" y="1383"/>
                        <a:pt x="106" y="1384"/>
                      </a:cubicBezTo>
                      <a:lnTo>
                        <a:pt x="0" y="1384"/>
                      </a:lnTo>
                      <a:close/>
                    </a:path>
                  </a:pathLst>
                </a:custGeom>
                <a:solidFill>
                  <a:srgbClr val="DC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1" name="Rectangle 218"/>
                <p:cNvSpPr>
                  <a:spLocks noChangeArrowheads="1"/>
                </p:cNvSpPr>
                <p:nvPr/>
              </p:nvSpPr>
              <p:spPr bwMode="auto">
                <a:xfrm rot="5400000">
                  <a:off x="10574637" y="446081"/>
                  <a:ext cx="82954" cy="37728"/>
                </a:xfrm>
                <a:prstGeom prst="rect">
                  <a:avLst/>
                </a:prstGeom>
                <a:solidFill>
                  <a:srgbClr val="DC5B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2" name="Freeform 219"/>
                <p:cNvSpPr>
                  <a:spLocks/>
                </p:cNvSpPr>
                <p:nvPr/>
              </p:nvSpPr>
              <p:spPr bwMode="auto">
                <a:xfrm rot="5400000">
                  <a:off x="10579003" y="347175"/>
                  <a:ext cx="74222" cy="116203"/>
                </a:xfrm>
                <a:custGeom>
                  <a:avLst/>
                  <a:gdLst>
                    <a:gd name="T0" fmla="*/ 51 w 51"/>
                    <a:gd name="T1" fmla="*/ 77 h 77"/>
                    <a:gd name="T2" fmla="*/ 0 w 51"/>
                    <a:gd name="T3" fmla="*/ 38 h 77"/>
                    <a:gd name="T4" fmla="*/ 51 w 51"/>
                    <a:gd name="T5" fmla="*/ 0 h 77"/>
                    <a:gd name="T6" fmla="*/ 51 w 51"/>
                    <a:gd name="T7" fmla="*/ 77 h 77"/>
                    <a:gd name="T8" fmla="*/ 51 w 51"/>
                    <a:gd name="T9" fmla="*/ 77 h 77"/>
                  </a:gdLst>
                  <a:ahLst/>
                  <a:cxnLst>
                    <a:cxn ang="0">
                      <a:pos x="T0" y="T1"/>
                    </a:cxn>
                    <a:cxn ang="0">
                      <a:pos x="T2" y="T3"/>
                    </a:cxn>
                    <a:cxn ang="0">
                      <a:pos x="T4" y="T5"/>
                    </a:cxn>
                    <a:cxn ang="0">
                      <a:pos x="T6" y="T7"/>
                    </a:cxn>
                    <a:cxn ang="0">
                      <a:pos x="T8" y="T9"/>
                    </a:cxn>
                  </a:cxnLst>
                  <a:rect l="0" t="0" r="r" b="b"/>
                  <a:pathLst>
                    <a:path w="51" h="77">
                      <a:moveTo>
                        <a:pt x="51" y="77"/>
                      </a:moveTo>
                      <a:lnTo>
                        <a:pt x="0" y="38"/>
                      </a:lnTo>
                      <a:lnTo>
                        <a:pt x="51" y="0"/>
                      </a:lnTo>
                      <a:lnTo>
                        <a:pt x="51" y="77"/>
                      </a:lnTo>
                      <a:lnTo>
                        <a:pt x="51" y="77"/>
                      </a:lnTo>
                      <a:close/>
                    </a:path>
                  </a:pathLst>
                </a:custGeom>
                <a:solidFill>
                  <a:srgbClr val="DC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3" name="Freeform 220"/>
                <p:cNvSpPr>
                  <a:spLocks/>
                </p:cNvSpPr>
                <p:nvPr/>
              </p:nvSpPr>
              <p:spPr bwMode="auto">
                <a:xfrm rot="5400000">
                  <a:off x="11175950" y="991164"/>
                  <a:ext cx="854280" cy="1136380"/>
                </a:xfrm>
                <a:custGeom>
                  <a:avLst/>
                  <a:gdLst>
                    <a:gd name="T0" fmla="*/ 779 w 779"/>
                    <a:gd name="T1" fmla="*/ 999 h 999"/>
                    <a:gd name="T2" fmla="*/ 354 w 779"/>
                    <a:gd name="T3" fmla="*/ 999 h 999"/>
                    <a:gd name="T4" fmla="*/ 63 w 779"/>
                    <a:gd name="T5" fmla="*/ 980 h 999"/>
                    <a:gd name="T6" fmla="*/ 2 w 779"/>
                    <a:gd name="T7" fmla="*/ 874 h 999"/>
                    <a:gd name="T8" fmla="*/ 0 w 779"/>
                    <a:gd name="T9" fmla="*/ 849 h 999"/>
                    <a:gd name="T10" fmla="*/ 0 w 779"/>
                    <a:gd name="T11" fmla="*/ 847 h 999"/>
                    <a:gd name="T12" fmla="*/ 0 w 779"/>
                    <a:gd name="T13" fmla="*/ 0 h 999"/>
                    <a:gd name="T14" fmla="*/ 34 w 779"/>
                    <a:gd name="T15" fmla="*/ 0 h 999"/>
                    <a:gd name="T16" fmla="*/ 34 w 779"/>
                    <a:gd name="T17" fmla="*/ 847 h 999"/>
                    <a:gd name="T18" fmla="*/ 36 w 779"/>
                    <a:gd name="T19" fmla="*/ 871 h 999"/>
                    <a:gd name="T20" fmla="*/ 75 w 779"/>
                    <a:gd name="T21" fmla="*/ 948 h 999"/>
                    <a:gd name="T22" fmla="*/ 354 w 779"/>
                    <a:gd name="T23" fmla="*/ 965 h 999"/>
                    <a:gd name="T24" fmla="*/ 779 w 779"/>
                    <a:gd name="T25" fmla="*/ 965 h 999"/>
                    <a:gd name="T26" fmla="*/ 779 w 779"/>
                    <a:gd name="T27" fmla="*/ 99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9" h="999">
                      <a:moveTo>
                        <a:pt x="779" y="999"/>
                      </a:moveTo>
                      <a:cubicBezTo>
                        <a:pt x="354" y="999"/>
                        <a:pt x="354" y="999"/>
                        <a:pt x="354" y="999"/>
                      </a:cubicBezTo>
                      <a:cubicBezTo>
                        <a:pt x="189" y="999"/>
                        <a:pt x="108" y="996"/>
                        <a:pt x="63" y="980"/>
                      </a:cubicBezTo>
                      <a:cubicBezTo>
                        <a:pt x="11" y="961"/>
                        <a:pt x="7" y="925"/>
                        <a:pt x="2" y="874"/>
                      </a:cubicBezTo>
                      <a:cubicBezTo>
                        <a:pt x="2" y="866"/>
                        <a:pt x="1" y="858"/>
                        <a:pt x="0" y="849"/>
                      </a:cubicBezTo>
                      <a:cubicBezTo>
                        <a:pt x="0" y="849"/>
                        <a:pt x="0" y="848"/>
                        <a:pt x="0" y="847"/>
                      </a:cubicBezTo>
                      <a:cubicBezTo>
                        <a:pt x="0" y="0"/>
                        <a:pt x="0" y="0"/>
                        <a:pt x="0" y="0"/>
                      </a:cubicBezTo>
                      <a:cubicBezTo>
                        <a:pt x="34" y="0"/>
                        <a:pt x="34" y="0"/>
                        <a:pt x="34" y="0"/>
                      </a:cubicBezTo>
                      <a:cubicBezTo>
                        <a:pt x="34" y="847"/>
                        <a:pt x="34" y="847"/>
                        <a:pt x="34" y="847"/>
                      </a:cubicBezTo>
                      <a:cubicBezTo>
                        <a:pt x="35" y="855"/>
                        <a:pt x="35" y="863"/>
                        <a:pt x="36" y="871"/>
                      </a:cubicBezTo>
                      <a:cubicBezTo>
                        <a:pt x="41" y="922"/>
                        <a:pt x="44" y="937"/>
                        <a:pt x="75" y="948"/>
                      </a:cubicBezTo>
                      <a:cubicBezTo>
                        <a:pt x="114" y="962"/>
                        <a:pt x="196" y="965"/>
                        <a:pt x="354" y="965"/>
                      </a:cubicBezTo>
                      <a:cubicBezTo>
                        <a:pt x="779" y="965"/>
                        <a:pt x="779" y="965"/>
                        <a:pt x="779" y="965"/>
                      </a:cubicBezTo>
                      <a:lnTo>
                        <a:pt x="779" y="999"/>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24" name="Group 623"/>
                <p:cNvGrpSpPr/>
                <p:nvPr/>
              </p:nvGrpSpPr>
              <p:grpSpPr>
                <a:xfrm rot="16200000">
                  <a:off x="10903605" y="1557171"/>
                  <a:ext cx="239953" cy="221210"/>
                  <a:chOff x="10903605" y="1557171"/>
                  <a:chExt cx="239953" cy="221210"/>
                </a:xfrm>
              </p:grpSpPr>
              <p:grpSp>
                <p:nvGrpSpPr>
                  <p:cNvPr id="661" name="Group 660"/>
                  <p:cNvGrpSpPr/>
                  <p:nvPr/>
                </p:nvGrpSpPr>
                <p:grpSpPr>
                  <a:xfrm>
                    <a:off x="10903605" y="1557171"/>
                    <a:ext cx="239953" cy="221210"/>
                    <a:chOff x="10903605" y="1557171"/>
                    <a:chExt cx="239953" cy="221210"/>
                  </a:xfrm>
                </p:grpSpPr>
                <p:sp>
                  <p:nvSpPr>
                    <p:cNvPr id="665" name="Freeform 221"/>
                    <p:cNvSpPr>
                      <a:spLocks/>
                    </p:cNvSpPr>
                    <p:nvPr/>
                  </p:nvSpPr>
                  <p:spPr bwMode="auto">
                    <a:xfrm rot="5400000">
                      <a:off x="10945423" y="1580246"/>
                      <a:ext cx="221210" cy="175060"/>
                    </a:xfrm>
                    <a:custGeom>
                      <a:avLst/>
                      <a:gdLst>
                        <a:gd name="T0" fmla="*/ 0 w 201"/>
                        <a:gd name="T1" fmla="*/ 25 h 153"/>
                        <a:gd name="T2" fmla="*/ 25 w 201"/>
                        <a:gd name="T3" fmla="*/ 0 h 153"/>
                        <a:gd name="T4" fmla="*/ 175 w 201"/>
                        <a:gd name="T5" fmla="*/ 0 h 153"/>
                        <a:gd name="T6" fmla="*/ 201 w 201"/>
                        <a:gd name="T7" fmla="*/ 25 h 153"/>
                        <a:gd name="T8" fmla="*/ 201 w 201"/>
                        <a:gd name="T9" fmla="*/ 127 h 153"/>
                        <a:gd name="T10" fmla="*/ 175 w 201"/>
                        <a:gd name="T11" fmla="*/ 153 h 153"/>
                        <a:gd name="T12" fmla="*/ 25 w 201"/>
                        <a:gd name="T13" fmla="*/ 153 h 153"/>
                        <a:gd name="T14" fmla="*/ 0 w 201"/>
                        <a:gd name="T15" fmla="*/ 127 h 153"/>
                        <a:gd name="T16" fmla="*/ 0 w 201"/>
                        <a:gd name="T17" fmla="*/ 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53">
                          <a:moveTo>
                            <a:pt x="0" y="25"/>
                          </a:moveTo>
                          <a:cubicBezTo>
                            <a:pt x="0" y="11"/>
                            <a:pt x="11" y="0"/>
                            <a:pt x="25" y="0"/>
                          </a:cubicBezTo>
                          <a:cubicBezTo>
                            <a:pt x="175" y="0"/>
                            <a:pt x="175" y="0"/>
                            <a:pt x="175" y="0"/>
                          </a:cubicBezTo>
                          <a:cubicBezTo>
                            <a:pt x="189" y="0"/>
                            <a:pt x="201" y="11"/>
                            <a:pt x="201" y="25"/>
                          </a:cubicBezTo>
                          <a:cubicBezTo>
                            <a:pt x="201" y="127"/>
                            <a:pt x="201" y="127"/>
                            <a:pt x="201" y="127"/>
                          </a:cubicBezTo>
                          <a:cubicBezTo>
                            <a:pt x="201" y="141"/>
                            <a:pt x="189" y="153"/>
                            <a:pt x="175" y="153"/>
                          </a:cubicBezTo>
                          <a:cubicBezTo>
                            <a:pt x="25" y="153"/>
                            <a:pt x="25" y="153"/>
                            <a:pt x="25" y="153"/>
                          </a:cubicBezTo>
                          <a:cubicBezTo>
                            <a:pt x="11" y="153"/>
                            <a:pt x="0" y="141"/>
                            <a:pt x="0" y="127"/>
                          </a:cubicBezTo>
                          <a:lnTo>
                            <a:pt x="0" y="25"/>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66" name="Freeform 222"/>
                    <p:cNvSpPr>
                      <a:spLocks/>
                    </p:cNvSpPr>
                    <p:nvPr/>
                  </p:nvSpPr>
                  <p:spPr bwMode="auto">
                    <a:xfrm rot="5400000">
                      <a:off x="10897053" y="1604472"/>
                      <a:ext cx="94597" cy="81493"/>
                    </a:xfrm>
                    <a:custGeom>
                      <a:avLst/>
                      <a:gdLst>
                        <a:gd name="T0" fmla="*/ 0 w 65"/>
                        <a:gd name="T1" fmla="*/ 0 h 54"/>
                        <a:gd name="T2" fmla="*/ 13 w 65"/>
                        <a:gd name="T3" fmla="*/ 54 h 54"/>
                        <a:gd name="T4" fmla="*/ 65 w 65"/>
                        <a:gd name="T5" fmla="*/ 0 h 54"/>
                        <a:gd name="T6" fmla="*/ 0 w 65"/>
                        <a:gd name="T7" fmla="*/ 0 h 54"/>
                        <a:gd name="T8" fmla="*/ 0 w 65"/>
                        <a:gd name="T9" fmla="*/ 0 h 54"/>
                      </a:gdLst>
                      <a:ahLst/>
                      <a:cxnLst>
                        <a:cxn ang="0">
                          <a:pos x="T0" y="T1"/>
                        </a:cxn>
                        <a:cxn ang="0">
                          <a:pos x="T2" y="T3"/>
                        </a:cxn>
                        <a:cxn ang="0">
                          <a:pos x="T4" y="T5"/>
                        </a:cxn>
                        <a:cxn ang="0">
                          <a:pos x="T6" y="T7"/>
                        </a:cxn>
                        <a:cxn ang="0">
                          <a:pos x="T8" y="T9"/>
                        </a:cxn>
                      </a:cxnLst>
                      <a:rect l="0" t="0" r="r" b="b"/>
                      <a:pathLst>
                        <a:path w="65" h="54">
                          <a:moveTo>
                            <a:pt x="0" y="0"/>
                          </a:moveTo>
                          <a:lnTo>
                            <a:pt x="13" y="54"/>
                          </a:lnTo>
                          <a:lnTo>
                            <a:pt x="65" y="0"/>
                          </a:lnTo>
                          <a:lnTo>
                            <a:pt x="0"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nvGrpSpPr>
                  <p:cNvPr id="662" name="Group 661"/>
                  <p:cNvGrpSpPr/>
                  <p:nvPr/>
                </p:nvGrpSpPr>
                <p:grpSpPr>
                  <a:xfrm>
                    <a:off x="11065083" y="1592098"/>
                    <a:ext cx="27164" cy="80043"/>
                    <a:chOff x="11065083" y="1592098"/>
                    <a:chExt cx="27164" cy="80043"/>
                  </a:xfrm>
                </p:grpSpPr>
                <p:sp>
                  <p:nvSpPr>
                    <p:cNvPr id="663" name="Freeform 224"/>
                    <p:cNvSpPr>
                      <a:spLocks noEditPoints="1"/>
                    </p:cNvSpPr>
                    <p:nvPr/>
                  </p:nvSpPr>
                  <p:spPr bwMode="auto">
                    <a:xfrm rot="5400000">
                      <a:off x="11061928" y="1595253"/>
                      <a:ext cx="33473" cy="27164"/>
                    </a:xfrm>
                    <a:custGeom>
                      <a:avLst/>
                      <a:gdLst>
                        <a:gd name="T0" fmla="*/ 14 w 30"/>
                        <a:gd name="T1" fmla="*/ 25 h 25"/>
                        <a:gd name="T2" fmla="*/ 0 w 30"/>
                        <a:gd name="T3" fmla="*/ 25 h 25"/>
                        <a:gd name="T4" fmla="*/ 0 w 30"/>
                        <a:gd name="T5" fmla="*/ 15 h 25"/>
                        <a:gd name="T6" fmla="*/ 3 w 30"/>
                        <a:gd name="T7" fmla="*/ 6 h 25"/>
                        <a:gd name="T8" fmla="*/ 11 w 30"/>
                        <a:gd name="T9" fmla="*/ 0 h 25"/>
                        <a:gd name="T10" fmla="*/ 14 w 30"/>
                        <a:gd name="T11" fmla="*/ 5 h 25"/>
                        <a:gd name="T12" fmla="*/ 9 w 30"/>
                        <a:gd name="T13" fmla="*/ 9 h 25"/>
                        <a:gd name="T14" fmla="*/ 7 w 30"/>
                        <a:gd name="T15" fmla="*/ 13 h 25"/>
                        <a:gd name="T16" fmla="*/ 14 w 30"/>
                        <a:gd name="T17" fmla="*/ 13 h 25"/>
                        <a:gd name="T18" fmla="*/ 14 w 30"/>
                        <a:gd name="T19" fmla="*/ 25 h 25"/>
                        <a:gd name="T20" fmla="*/ 30 w 30"/>
                        <a:gd name="T21" fmla="*/ 25 h 25"/>
                        <a:gd name="T22" fmla="*/ 16 w 30"/>
                        <a:gd name="T23" fmla="*/ 25 h 25"/>
                        <a:gd name="T24" fmla="*/ 16 w 30"/>
                        <a:gd name="T25" fmla="*/ 15 h 25"/>
                        <a:gd name="T26" fmla="*/ 18 w 30"/>
                        <a:gd name="T27" fmla="*/ 6 h 25"/>
                        <a:gd name="T28" fmla="*/ 27 w 30"/>
                        <a:gd name="T29" fmla="*/ 0 h 25"/>
                        <a:gd name="T30" fmla="*/ 30 w 30"/>
                        <a:gd name="T31" fmla="*/ 5 h 25"/>
                        <a:gd name="T32" fmla="*/ 25 w 30"/>
                        <a:gd name="T33" fmla="*/ 9 h 25"/>
                        <a:gd name="T34" fmla="*/ 23 w 30"/>
                        <a:gd name="T35" fmla="*/ 13 h 25"/>
                        <a:gd name="T36" fmla="*/ 30 w 30"/>
                        <a:gd name="T37" fmla="*/ 13 h 25"/>
                        <a:gd name="T38" fmla="*/ 30 w 30"/>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25">
                          <a:moveTo>
                            <a:pt x="14" y="25"/>
                          </a:moveTo>
                          <a:cubicBezTo>
                            <a:pt x="0" y="25"/>
                            <a:pt x="0" y="25"/>
                            <a:pt x="0" y="25"/>
                          </a:cubicBezTo>
                          <a:cubicBezTo>
                            <a:pt x="0" y="15"/>
                            <a:pt x="0" y="15"/>
                            <a:pt x="0" y="15"/>
                          </a:cubicBezTo>
                          <a:cubicBezTo>
                            <a:pt x="0" y="11"/>
                            <a:pt x="1" y="8"/>
                            <a:pt x="3" y="6"/>
                          </a:cubicBezTo>
                          <a:cubicBezTo>
                            <a:pt x="4" y="3"/>
                            <a:pt x="7" y="1"/>
                            <a:pt x="11" y="0"/>
                          </a:cubicBezTo>
                          <a:cubicBezTo>
                            <a:pt x="14" y="5"/>
                            <a:pt x="14" y="5"/>
                            <a:pt x="14" y="5"/>
                          </a:cubicBezTo>
                          <a:cubicBezTo>
                            <a:pt x="11" y="6"/>
                            <a:pt x="10" y="7"/>
                            <a:pt x="9" y="9"/>
                          </a:cubicBezTo>
                          <a:cubicBezTo>
                            <a:pt x="8" y="10"/>
                            <a:pt x="7" y="11"/>
                            <a:pt x="7" y="13"/>
                          </a:cubicBezTo>
                          <a:cubicBezTo>
                            <a:pt x="14" y="13"/>
                            <a:pt x="14" y="13"/>
                            <a:pt x="14" y="13"/>
                          </a:cubicBezTo>
                          <a:lnTo>
                            <a:pt x="14" y="25"/>
                          </a:lnTo>
                          <a:close/>
                          <a:moveTo>
                            <a:pt x="30" y="25"/>
                          </a:moveTo>
                          <a:cubicBezTo>
                            <a:pt x="16" y="25"/>
                            <a:pt x="16" y="25"/>
                            <a:pt x="16" y="25"/>
                          </a:cubicBezTo>
                          <a:cubicBezTo>
                            <a:pt x="16" y="15"/>
                            <a:pt x="16" y="15"/>
                            <a:pt x="16" y="15"/>
                          </a:cubicBezTo>
                          <a:cubicBezTo>
                            <a:pt x="16" y="11"/>
                            <a:pt x="17" y="8"/>
                            <a:pt x="18" y="6"/>
                          </a:cubicBezTo>
                          <a:cubicBezTo>
                            <a:pt x="20" y="3"/>
                            <a:pt x="23" y="1"/>
                            <a:pt x="27" y="0"/>
                          </a:cubicBezTo>
                          <a:cubicBezTo>
                            <a:pt x="30" y="5"/>
                            <a:pt x="30" y="5"/>
                            <a:pt x="30" y="5"/>
                          </a:cubicBezTo>
                          <a:cubicBezTo>
                            <a:pt x="27" y="6"/>
                            <a:pt x="26" y="7"/>
                            <a:pt x="25" y="9"/>
                          </a:cubicBezTo>
                          <a:cubicBezTo>
                            <a:pt x="24" y="10"/>
                            <a:pt x="23" y="11"/>
                            <a:pt x="23" y="13"/>
                          </a:cubicBezTo>
                          <a:cubicBezTo>
                            <a:pt x="30" y="13"/>
                            <a:pt x="30" y="13"/>
                            <a:pt x="30" y="13"/>
                          </a:cubicBezTo>
                          <a:lnTo>
                            <a:pt x="3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64" name="Freeform 225"/>
                    <p:cNvSpPr>
                      <a:spLocks noEditPoints="1"/>
                    </p:cNvSpPr>
                    <p:nvPr/>
                  </p:nvSpPr>
                  <p:spPr bwMode="auto">
                    <a:xfrm rot="5400000">
                      <a:off x="11062656" y="1642551"/>
                      <a:ext cx="32017" cy="27164"/>
                    </a:xfrm>
                    <a:custGeom>
                      <a:avLst/>
                      <a:gdLst>
                        <a:gd name="T0" fmla="*/ 0 w 29"/>
                        <a:gd name="T1" fmla="*/ 0 h 25"/>
                        <a:gd name="T2" fmla="*/ 14 w 29"/>
                        <a:gd name="T3" fmla="*/ 0 h 25"/>
                        <a:gd name="T4" fmla="*/ 14 w 29"/>
                        <a:gd name="T5" fmla="*/ 10 h 25"/>
                        <a:gd name="T6" fmla="*/ 11 w 29"/>
                        <a:gd name="T7" fmla="*/ 19 h 25"/>
                        <a:gd name="T8" fmla="*/ 3 w 29"/>
                        <a:gd name="T9" fmla="*/ 25 h 25"/>
                        <a:gd name="T10" fmla="*/ 0 w 29"/>
                        <a:gd name="T11" fmla="*/ 20 h 25"/>
                        <a:gd name="T12" fmla="*/ 5 w 29"/>
                        <a:gd name="T13" fmla="*/ 16 h 25"/>
                        <a:gd name="T14" fmla="*/ 7 w 29"/>
                        <a:gd name="T15" fmla="*/ 12 h 25"/>
                        <a:gd name="T16" fmla="*/ 0 w 29"/>
                        <a:gd name="T17" fmla="*/ 12 h 25"/>
                        <a:gd name="T18" fmla="*/ 0 w 29"/>
                        <a:gd name="T19" fmla="*/ 0 h 25"/>
                        <a:gd name="T20" fmla="*/ 16 w 29"/>
                        <a:gd name="T21" fmla="*/ 0 h 25"/>
                        <a:gd name="T22" fmla="*/ 29 w 29"/>
                        <a:gd name="T23" fmla="*/ 0 h 25"/>
                        <a:gd name="T24" fmla="*/ 29 w 29"/>
                        <a:gd name="T25" fmla="*/ 10 h 25"/>
                        <a:gd name="T26" fmla="*/ 27 w 29"/>
                        <a:gd name="T27" fmla="*/ 19 h 25"/>
                        <a:gd name="T28" fmla="*/ 19 w 29"/>
                        <a:gd name="T29" fmla="*/ 25 h 25"/>
                        <a:gd name="T30" fmla="*/ 16 w 29"/>
                        <a:gd name="T31" fmla="*/ 20 h 25"/>
                        <a:gd name="T32" fmla="*/ 21 w 29"/>
                        <a:gd name="T33" fmla="*/ 16 h 25"/>
                        <a:gd name="T34" fmla="*/ 22 w 29"/>
                        <a:gd name="T35" fmla="*/ 12 h 25"/>
                        <a:gd name="T36" fmla="*/ 16 w 29"/>
                        <a:gd name="T37" fmla="*/ 12 h 25"/>
                        <a:gd name="T38" fmla="*/ 16 w 29"/>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5">
                          <a:moveTo>
                            <a:pt x="0" y="0"/>
                          </a:moveTo>
                          <a:cubicBezTo>
                            <a:pt x="14" y="0"/>
                            <a:pt x="14" y="0"/>
                            <a:pt x="14" y="0"/>
                          </a:cubicBezTo>
                          <a:cubicBezTo>
                            <a:pt x="14" y="10"/>
                            <a:pt x="14" y="10"/>
                            <a:pt x="14" y="10"/>
                          </a:cubicBezTo>
                          <a:cubicBezTo>
                            <a:pt x="14" y="14"/>
                            <a:pt x="13" y="17"/>
                            <a:pt x="11" y="19"/>
                          </a:cubicBezTo>
                          <a:cubicBezTo>
                            <a:pt x="10" y="21"/>
                            <a:pt x="7" y="23"/>
                            <a:pt x="3" y="25"/>
                          </a:cubicBezTo>
                          <a:cubicBezTo>
                            <a:pt x="0" y="20"/>
                            <a:pt x="0" y="20"/>
                            <a:pt x="0" y="20"/>
                          </a:cubicBezTo>
                          <a:cubicBezTo>
                            <a:pt x="2" y="18"/>
                            <a:pt x="4" y="17"/>
                            <a:pt x="5" y="16"/>
                          </a:cubicBezTo>
                          <a:cubicBezTo>
                            <a:pt x="6" y="15"/>
                            <a:pt x="6" y="14"/>
                            <a:pt x="7" y="12"/>
                          </a:cubicBezTo>
                          <a:cubicBezTo>
                            <a:pt x="0" y="12"/>
                            <a:pt x="0" y="12"/>
                            <a:pt x="0" y="12"/>
                          </a:cubicBezTo>
                          <a:lnTo>
                            <a:pt x="0" y="0"/>
                          </a:lnTo>
                          <a:close/>
                          <a:moveTo>
                            <a:pt x="16" y="0"/>
                          </a:moveTo>
                          <a:cubicBezTo>
                            <a:pt x="29" y="0"/>
                            <a:pt x="29" y="0"/>
                            <a:pt x="29" y="0"/>
                          </a:cubicBezTo>
                          <a:cubicBezTo>
                            <a:pt x="29" y="10"/>
                            <a:pt x="29" y="10"/>
                            <a:pt x="29" y="10"/>
                          </a:cubicBezTo>
                          <a:cubicBezTo>
                            <a:pt x="29" y="14"/>
                            <a:pt x="29" y="17"/>
                            <a:pt x="27" y="19"/>
                          </a:cubicBezTo>
                          <a:cubicBezTo>
                            <a:pt x="25" y="21"/>
                            <a:pt x="23" y="23"/>
                            <a:pt x="19" y="25"/>
                          </a:cubicBezTo>
                          <a:cubicBezTo>
                            <a:pt x="16" y="20"/>
                            <a:pt x="16" y="20"/>
                            <a:pt x="16" y="20"/>
                          </a:cubicBezTo>
                          <a:cubicBezTo>
                            <a:pt x="18" y="18"/>
                            <a:pt x="20" y="17"/>
                            <a:pt x="21" y="16"/>
                          </a:cubicBezTo>
                          <a:cubicBezTo>
                            <a:pt x="22" y="15"/>
                            <a:pt x="22" y="14"/>
                            <a:pt x="22" y="12"/>
                          </a:cubicBezTo>
                          <a:cubicBezTo>
                            <a:pt x="16" y="12"/>
                            <a:pt x="16" y="12"/>
                            <a:pt x="16" y="12"/>
                          </a:cubicBez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sp>
              <p:nvSpPr>
                <p:cNvPr id="625" name="Freeform 226"/>
                <p:cNvSpPr>
                  <a:spLocks noEditPoints="1"/>
                </p:cNvSpPr>
                <p:nvPr/>
              </p:nvSpPr>
              <p:spPr bwMode="auto">
                <a:xfrm rot="18900000">
                  <a:off x="11274280" y="1428435"/>
                  <a:ext cx="213934" cy="200715"/>
                </a:xfrm>
                <a:custGeom>
                  <a:avLst/>
                  <a:gdLst>
                    <a:gd name="T0" fmla="*/ 113 w 196"/>
                    <a:gd name="T1" fmla="*/ 118 h 177"/>
                    <a:gd name="T2" fmla="*/ 114 w 196"/>
                    <a:gd name="T3" fmla="*/ 126 h 177"/>
                    <a:gd name="T4" fmla="*/ 122 w 196"/>
                    <a:gd name="T5" fmla="*/ 127 h 177"/>
                    <a:gd name="T6" fmla="*/ 124 w 196"/>
                    <a:gd name="T7" fmla="*/ 135 h 177"/>
                    <a:gd name="T8" fmla="*/ 131 w 196"/>
                    <a:gd name="T9" fmla="*/ 135 h 177"/>
                    <a:gd name="T10" fmla="*/ 132 w 196"/>
                    <a:gd name="T11" fmla="*/ 144 h 177"/>
                    <a:gd name="T12" fmla="*/ 141 w 196"/>
                    <a:gd name="T13" fmla="*/ 145 h 177"/>
                    <a:gd name="T14" fmla="*/ 128 w 196"/>
                    <a:gd name="T15" fmla="*/ 166 h 177"/>
                    <a:gd name="T16" fmla="*/ 119 w 196"/>
                    <a:gd name="T17" fmla="*/ 165 h 177"/>
                    <a:gd name="T18" fmla="*/ 111 w 196"/>
                    <a:gd name="T19" fmla="*/ 157 h 177"/>
                    <a:gd name="T20" fmla="*/ 109 w 196"/>
                    <a:gd name="T21" fmla="*/ 149 h 177"/>
                    <a:gd name="T22" fmla="*/ 101 w 196"/>
                    <a:gd name="T23" fmla="*/ 147 h 177"/>
                    <a:gd name="T24" fmla="*/ 93 w 196"/>
                    <a:gd name="T25" fmla="*/ 139 h 177"/>
                    <a:gd name="T26" fmla="*/ 92 w 196"/>
                    <a:gd name="T27" fmla="*/ 130 h 177"/>
                    <a:gd name="T28" fmla="*/ 109 w 196"/>
                    <a:gd name="T29" fmla="*/ 116 h 177"/>
                    <a:gd name="T30" fmla="*/ 172 w 196"/>
                    <a:gd name="T31" fmla="*/ 148 h 177"/>
                    <a:gd name="T32" fmla="*/ 166 w 196"/>
                    <a:gd name="T33" fmla="*/ 172 h 177"/>
                    <a:gd name="T34" fmla="*/ 140 w 196"/>
                    <a:gd name="T35" fmla="*/ 164 h 177"/>
                    <a:gd name="T36" fmla="*/ 139 w 196"/>
                    <a:gd name="T37" fmla="*/ 136 h 177"/>
                    <a:gd name="T38" fmla="*/ 124 w 196"/>
                    <a:gd name="T39" fmla="*/ 120 h 177"/>
                    <a:gd name="T40" fmla="*/ 154 w 196"/>
                    <a:gd name="T41" fmla="*/ 78 h 177"/>
                    <a:gd name="T42" fmla="*/ 182 w 196"/>
                    <a:gd name="T43" fmla="*/ 104 h 177"/>
                    <a:gd name="T44" fmla="*/ 164 w 196"/>
                    <a:gd name="T45" fmla="*/ 130 h 177"/>
                    <a:gd name="T46" fmla="*/ 128 w 196"/>
                    <a:gd name="T47" fmla="*/ 104 h 177"/>
                    <a:gd name="T48" fmla="*/ 128 w 196"/>
                    <a:gd name="T49" fmla="*/ 105 h 177"/>
                    <a:gd name="T50" fmla="*/ 126 w 196"/>
                    <a:gd name="T51" fmla="*/ 110 h 177"/>
                    <a:gd name="T52" fmla="*/ 121 w 196"/>
                    <a:gd name="T53" fmla="*/ 114 h 177"/>
                    <a:gd name="T54" fmla="*/ 117 w 196"/>
                    <a:gd name="T55" fmla="*/ 94 h 177"/>
                    <a:gd name="T56" fmla="*/ 117 w 196"/>
                    <a:gd name="T57" fmla="*/ 93 h 177"/>
                    <a:gd name="T58" fmla="*/ 127 w 196"/>
                    <a:gd name="T59" fmla="*/ 79 h 177"/>
                    <a:gd name="T60" fmla="*/ 167 w 196"/>
                    <a:gd name="T61" fmla="*/ 67 h 177"/>
                    <a:gd name="T62" fmla="*/ 194 w 196"/>
                    <a:gd name="T63" fmla="*/ 91 h 177"/>
                    <a:gd name="T64" fmla="*/ 192 w 196"/>
                    <a:gd name="T65" fmla="*/ 101 h 177"/>
                    <a:gd name="T66" fmla="*/ 161 w 196"/>
                    <a:gd name="T67" fmla="*/ 78 h 177"/>
                    <a:gd name="T68" fmla="*/ 163 w 196"/>
                    <a:gd name="T69" fmla="*/ 68 h 177"/>
                    <a:gd name="T70" fmla="*/ 35 w 196"/>
                    <a:gd name="T71" fmla="*/ 33 h 177"/>
                    <a:gd name="T72" fmla="*/ 35 w 196"/>
                    <a:gd name="T73" fmla="*/ 66 h 177"/>
                    <a:gd name="T74" fmla="*/ 33 w 196"/>
                    <a:gd name="T75" fmla="*/ 33 h 177"/>
                    <a:gd name="T76" fmla="*/ 56 w 196"/>
                    <a:gd name="T77" fmla="*/ 16 h 177"/>
                    <a:gd name="T78" fmla="*/ 56 w 196"/>
                    <a:gd name="T79" fmla="*/ 95 h 177"/>
                    <a:gd name="T80" fmla="*/ 56 w 196"/>
                    <a:gd name="T81" fmla="*/ 16 h 177"/>
                    <a:gd name="T82" fmla="*/ 111 w 196"/>
                    <a:gd name="T83" fmla="*/ 56 h 177"/>
                    <a:gd name="T84" fmla="*/ 106 w 196"/>
                    <a:gd name="T85" fmla="*/ 82 h 177"/>
                    <a:gd name="T86" fmla="*/ 105 w 196"/>
                    <a:gd name="T87" fmla="*/ 110 h 177"/>
                    <a:gd name="T88" fmla="*/ 82 w 196"/>
                    <a:gd name="T89" fmla="*/ 106 h 177"/>
                    <a:gd name="T90" fmla="*/ 56 w 196"/>
                    <a:gd name="T91" fmla="*/ 111 h 177"/>
                    <a:gd name="T92" fmla="*/ 56 w 196"/>
                    <a:gd name="T9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6" h="177">
                      <a:moveTo>
                        <a:pt x="109" y="116"/>
                      </a:moveTo>
                      <a:cubicBezTo>
                        <a:pt x="110" y="116"/>
                        <a:pt x="112" y="117"/>
                        <a:pt x="113" y="118"/>
                      </a:cubicBezTo>
                      <a:cubicBezTo>
                        <a:pt x="114" y="118"/>
                        <a:pt x="114" y="118"/>
                        <a:pt x="114" y="118"/>
                      </a:cubicBezTo>
                      <a:cubicBezTo>
                        <a:pt x="116" y="121"/>
                        <a:pt x="116" y="124"/>
                        <a:pt x="114" y="126"/>
                      </a:cubicBezTo>
                      <a:cubicBezTo>
                        <a:pt x="115" y="125"/>
                        <a:pt x="117" y="125"/>
                        <a:pt x="118" y="125"/>
                      </a:cubicBezTo>
                      <a:cubicBezTo>
                        <a:pt x="119" y="125"/>
                        <a:pt x="121" y="125"/>
                        <a:pt x="122" y="127"/>
                      </a:cubicBezTo>
                      <a:cubicBezTo>
                        <a:pt x="123" y="127"/>
                        <a:pt x="123" y="127"/>
                        <a:pt x="123" y="127"/>
                      </a:cubicBezTo>
                      <a:cubicBezTo>
                        <a:pt x="125" y="129"/>
                        <a:pt x="125" y="132"/>
                        <a:pt x="124" y="135"/>
                      </a:cubicBezTo>
                      <a:cubicBezTo>
                        <a:pt x="124" y="134"/>
                        <a:pt x="126" y="134"/>
                        <a:pt x="127" y="134"/>
                      </a:cubicBezTo>
                      <a:cubicBezTo>
                        <a:pt x="128" y="134"/>
                        <a:pt x="130" y="134"/>
                        <a:pt x="131" y="135"/>
                      </a:cubicBezTo>
                      <a:cubicBezTo>
                        <a:pt x="132" y="136"/>
                        <a:pt x="132" y="136"/>
                        <a:pt x="132" y="136"/>
                      </a:cubicBezTo>
                      <a:cubicBezTo>
                        <a:pt x="134" y="138"/>
                        <a:pt x="134" y="142"/>
                        <a:pt x="132" y="144"/>
                      </a:cubicBezTo>
                      <a:cubicBezTo>
                        <a:pt x="134" y="142"/>
                        <a:pt x="138" y="142"/>
                        <a:pt x="140" y="144"/>
                      </a:cubicBezTo>
                      <a:cubicBezTo>
                        <a:pt x="141" y="145"/>
                        <a:pt x="141" y="145"/>
                        <a:pt x="141" y="145"/>
                      </a:cubicBezTo>
                      <a:cubicBezTo>
                        <a:pt x="143" y="147"/>
                        <a:pt x="143" y="151"/>
                        <a:pt x="141" y="153"/>
                      </a:cubicBezTo>
                      <a:cubicBezTo>
                        <a:pt x="128" y="166"/>
                        <a:pt x="128" y="166"/>
                        <a:pt x="128" y="166"/>
                      </a:cubicBezTo>
                      <a:cubicBezTo>
                        <a:pt x="126" y="168"/>
                        <a:pt x="122" y="168"/>
                        <a:pt x="120" y="166"/>
                      </a:cubicBezTo>
                      <a:cubicBezTo>
                        <a:pt x="119" y="165"/>
                        <a:pt x="119" y="165"/>
                        <a:pt x="119" y="165"/>
                      </a:cubicBezTo>
                      <a:cubicBezTo>
                        <a:pt x="117" y="163"/>
                        <a:pt x="117" y="160"/>
                        <a:pt x="119" y="157"/>
                      </a:cubicBezTo>
                      <a:cubicBezTo>
                        <a:pt x="116" y="159"/>
                        <a:pt x="113" y="159"/>
                        <a:pt x="111" y="157"/>
                      </a:cubicBezTo>
                      <a:cubicBezTo>
                        <a:pt x="110" y="156"/>
                        <a:pt x="110" y="156"/>
                        <a:pt x="110" y="156"/>
                      </a:cubicBezTo>
                      <a:cubicBezTo>
                        <a:pt x="108" y="154"/>
                        <a:pt x="108" y="151"/>
                        <a:pt x="109" y="149"/>
                      </a:cubicBezTo>
                      <a:cubicBezTo>
                        <a:pt x="107" y="151"/>
                        <a:pt x="104" y="150"/>
                        <a:pt x="102" y="148"/>
                      </a:cubicBezTo>
                      <a:cubicBezTo>
                        <a:pt x="101" y="147"/>
                        <a:pt x="101" y="147"/>
                        <a:pt x="101" y="147"/>
                      </a:cubicBezTo>
                      <a:cubicBezTo>
                        <a:pt x="99" y="145"/>
                        <a:pt x="99" y="142"/>
                        <a:pt x="101" y="140"/>
                      </a:cubicBezTo>
                      <a:cubicBezTo>
                        <a:pt x="99" y="142"/>
                        <a:pt x="95" y="141"/>
                        <a:pt x="93" y="139"/>
                      </a:cubicBezTo>
                      <a:cubicBezTo>
                        <a:pt x="92" y="139"/>
                        <a:pt x="92" y="139"/>
                        <a:pt x="92" y="139"/>
                      </a:cubicBezTo>
                      <a:cubicBezTo>
                        <a:pt x="90" y="136"/>
                        <a:pt x="90" y="132"/>
                        <a:pt x="92" y="130"/>
                      </a:cubicBezTo>
                      <a:cubicBezTo>
                        <a:pt x="105" y="118"/>
                        <a:pt x="105" y="118"/>
                        <a:pt x="105" y="118"/>
                      </a:cubicBezTo>
                      <a:cubicBezTo>
                        <a:pt x="106" y="117"/>
                        <a:pt x="107" y="116"/>
                        <a:pt x="109" y="116"/>
                      </a:cubicBezTo>
                      <a:close/>
                      <a:moveTo>
                        <a:pt x="134" y="109"/>
                      </a:moveTo>
                      <a:cubicBezTo>
                        <a:pt x="172" y="148"/>
                        <a:pt x="172" y="148"/>
                        <a:pt x="172" y="148"/>
                      </a:cubicBezTo>
                      <a:cubicBezTo>
                        <a:pt x="177" y="153"/>
                        <a:pt x="177" y="160"/>
                        <a:pt x="172" y="165"/>
                      </a:cubicBezTo>
                      <a:cubicBezTo>
                        <a:pt x="166" y="172"/>
                        <a:pt x="166" y="172"/>
                        <a:pt x="166" y="172"/>
                      </a:cubicBezTo>
                      <a:cubicBezTo>
                        <a:pt x="161" y="177"/>
                        <a:pt x="153" y="177"/>
                        <a:pt x="148" y="172"/>
                      </a:cubicBezTo>
                      <a:cubicBezTo>
                        <a:pt x="140" y="164"/>
                        <a:pt x="140" y="164"/>
                        <a:pt x="140" y="164"/>
                      </a:cubicBezTo>
                      <a:cubicBezTo>
                        <a:pt x="147" y="156"/>
                        <a:pt x="147" y="156"/>
                        <a:pt x="147" y="156"/>
                      </a:cubicBezTo>
                      <a:cubicBezTo>
                        <a:pt x="149" y="153"/>
                        <a:pt x="152" y="142"/>
                        <a:pt x="139" y="136"/>
                      </a:cubicBezTo>
                      <a:cubicBezTo>
                        <a:pt x="138" y="133"/>
                        <a:pt x="135" y="128"/>
                        <a:pt x="131" y="127"/>
                      </a:cubicBezTo>
                      <a:cubicBezTo>
                        <a:pt x="130" y="125"/>
                        <a:pt x="128" y="122"/>
                        <a:pt x="124" y="120"/>
                      </a:cubicBezTo>
                      <a:cubicBezTo>
                        <a:pt x="128" y="118"/>
                        <a:pt x="131" y="115"/>
                        <a:pt x="134" y="109"/>
                      </a:cubicBezTo>
                      <a:close/>
                      <a:moveTo>
                        <a:pt x="154" y="78"/>
                      </a:moveTo>
                      <a:cubicBezTo>
                        <a:pt x="156" y="78"/>
                        <a:pt x="158" y="79"/>
                        <a:pt x="160" y="81"/>
                      </a:cubicBezTo>
                      <a:cubicBezTo>
                        <a:pt x="182" y="104"/>
                        <a:pt x="182" y="104"/>
                        <a:pt x="182" y="104"/>
                      </a:cubicBezTo>
                      <a:cubicBezTo>
                        <a:pt x="185" y="106"/>
                        <a:pt x="184" y="109"/>
                        <a:pt x="183" y="111"/>
                      </a:cubicBezTo>
                      <a:cubicBezTo>
                        <a:pt x="164" y="130"/>
                        <a:pt x="164" y="130"/>
                        <a:pt x="164" y="130"/>
                      </a:cubicBezTo>
                      <a:cubicBezTo>
                        <a:pt x="131" y="97"/>
                        <a:pt x="131" y="97"/>
                        <a:pt x="131" y="97"/>
                      </a:cubicBezTo>
                      <a:cubicBezTo>
                        <a:pt x="128" y="104"/>
                        <a:pt x="128" y="104"/>
                        <a:pt x="128" y="104"/>
                      </a:cubicBezTo>
                      <a:cubicBezTo>
                        <a:pt x="128" y="104"/>
                        <a:pt x="128" y="104"/>
                        <a:pt x="128" y="104"/>
                      </a:cubicBezTo>
                      <a:cubicBezTo>
                        <a:pt x="128" y="105"/>
                        <a:pt x="128" y="105"/>
                        <a:pt x="128" y="105"/>
                      </a:cubicBezTo>
                      <a:cubicBezTo>
                        <a:pt x="127" y="107"/>
                        <a:pt x="127" y="109"/>
                        <a:pt x="126" y="110"/>
                      </a:cubicBezTo>
                      <a:cubicBezTo>
                        <a:pt x="126" y="110"/>
                        <a:pt x="126" y="110"/>
                        <a:pt x="126" y="110"/>
                      </a:cubicBezTo>
                      <a:cubicBezTo>
                        <a:pt x="125" y="110"/>
                        <a:pt x="125" y="110"/>
                        <a:pt x="125" y="110"/>
                      </a:cubicBezTo>
                      <a:cubicBezTo>
                        <a:pt x="124" y="112"/>
                        <a:pt x="123" y="113"/>
                        <a:pt x="121" y="114"/>
                      </a:cubicBezTo>
                      <a:cubicBezTo>
                        <a:pt x="113" y="116"/>
                        <a:pt x="111" y="111"/>
                        <a:pt x="112" y="107"/>
                      </a:cubicBezTo>
                      <a:cubicBezTo>
                        <a:pt x="117" y="94"/>
                        <a:pt x="117" y="94"/>
                        <a:pt x="117" y="94"/>
                      </a:cubicBezTo>
                      <a:cubicBezTo>
                        <a:pt x="117" y="93"/>
                        <a:pt x="117" y="93"/>
                        <a:pt x="117" y="93"/>
                      </a:cubicBezTo>
                      <a:cubicBezTo>
                        <a:pt x="117" y="93"/>
                        <a:pt x="117" y="93"/>
                        <a:pt x="117" y="93"/>
                      </a:cubicBezTo>
                      <a:cubicBezTo>
                        <a:pt x="121" y="84"/>
                        <a:pt x="121" y="84"/>
                        <a:pt x="121" y="84"/>
                      </a:cubicBezTo>
                      <a:cubicBezTo>
                        <a:pt x="122" y="82"/>
                        <a:pt x="124" y="80"/>
                        <a:pt x="127" y="79"/>
                      </a:cubicBezTo>
                      <a:lnTo>
                        <a:pt x="154" y="78"/>
                      </a:lnTo>
                      <a:close/>
                      <a:moveTo>
                        <a:pt x="167" y="67"/>
                      </a:moveTo>
                      <a:cubicBezTo>
                        <a:pt x="169" y="67"/>
                        <a:pt x="170" y="67"/>
                        <a:pt x="171" y="68"/>
                      </a:cubicBezTo>
                      <a:cubicBezTo>
                        <a:pt x="194" y="91"/>
                        <a:pt x="194" y="91"/>
                        <a:pt x="194" y="91"/>
                      </a:cubicBezTo>
                      <a:cubicBezTo>
                        <a:pt x="196" y="93"/>
                        <a:pt x="196" y="97"/>
                        <a:pt x="194" y="99"/>
                      </a:cubicBezTo>
                      <a:cubicBezTo>
                        <a:pt x="192" y="101"/>
                        <a:pt x="192" y="101"/>
                        <a:pt x="192" y="101"/>
                      </a:cubicBezTo>
                      <a:cubicBezTo>
                        <a:pt x="190" y="103"/>
                        <a:pt x="186" y="103"/>
                        <a:pt x="184" y="101"/>
                      </a:cubicBezTo>
                      <a:cubicBezTo>
                        <a:pt x="161" y="78"/>
                        <a:pt x="161" y="78"/>
                        <a:pt x="161" y="78"/>
                      </a:cubicBezTo>
                      <a:cubicBezTo>
                        <a:pt x="159" y="76"/>
                        <a:pt x="159" y="73"/>
                        <a:pt x="161" y="70"/>
                      </a:cubicBezTo>
                      <a:cubicBezTo>
                        <a:pt x="163" y="68"/>
                        <a:pt x="163" y="68"/>
                        <a:pt x="163" y="68"/>
                      </a:cubicBezTo>
                      <a:cubicBezTo>
                        <a:pt x="164" y="67"/>
                        <a:pt x="166" y="67"/>
                        <a:pt x="167" y="67"/>
                      </a:cubicBezTo>
                      <a:close/>
                      <a:moveTo>
                        <a:pt x="35" y="33"/>
                      </a:moveTo>
                      <a:cubicBezTo>
                        <a:pt x="39" y="33"/>
                        <a:pt x="39" y="37"/>
                        <a:pt x="39" y="39"/>
                      </a:cubicBezTo>
                      <a:cubicBezTo>
                        <a:pt x="36" y="43"/>
                        <a:pt x="29" y="50"/>
                        <a:pt x="35" y="66"/>
                      </a:cubicBezTo>
                      <a:cubicBezTo>
                        <a:pt x="35" y="69"/>
                        <a:pt x="33" y="72"/>
                        <a:pt x="29" y="70"/>
                      </a:cubicBezTo>
                      <a:cubicBezTo>
                        <a:pt x="19" y="54"/>
                        <a:pt x="29" y="38"/>
                        <a:pt x="33" y="33"/>
                      </a:cubicBezTo>
                      <a:cubicBezTo>
                        <a:pt x="34" y="33"/>
                        <a:pt x="34" y="33"/>
                        <a:pt x="35" y="33"/>
                      </a:cubicBezTo>
                      <a:close/>
                      <a:moveTo>
                        <a:pt x="56" y="16"/>
                      </a:moveTo>
                      <a:cubicBezTo>
                        <a:pt x="34" y="16"/>
                        <a:pt x="16" y="34"/>
                        <a:pt x="16" y="56"/>
                      </a:cubicBezTo>
                      <a:cubicBezTo>
                        <a:pt x="16" y="77"/>
                        <a:pt x="34" y="95"/>
                        <a:pt x="56" y="95"/>
                      </a:cubicBezTo>
                      <a:cubicBezTo>
                        <a:pt x="77" y="95"/>
                        <a:pt x="95" y="77"/>
                        <a:pt x="95" y="56"/>
                      </a:cubicBezTo>
                      <a:cubicBezTo>
                        <a:pt x="95" y="34"/>
                        <a:pt x="77" y="16"/>
                        <a:pt x="56" y="16"/>
                      </a:cubicBezTo>
                      <a:close/>
                      <a:moveTo>
                        <a:pt x="56" y="0"/>
                      </a:moveTo>
                      <a:cubicBezTo>
                        <a:pt x="86" y="0"/>
                        <a:pt x="111" y="25"/>
                        <a:pt x="111" y="56"/>
                      </a:cubicBezTo>
                      <a:cubicBezTo>
                        <a:pt x="111" y="65"/>
                        <a:pt x="109" y="73"/>
                        <a:pt x="105" y="81"/>
                      </a:cubicBezTo>
                      <a:cubicBezTo>
                        <a:pt x="105" y="81"/>
                        <a:pt x="106" y="82"/>
                        <a:pt x="106" y="82"/>
                      </a:cubicBezTo>
                      <a:cubicBezTo>
                        <a:pt x="112" y="88"/>
                        <a:pt x="112" y="88"/>
                        <a:pt x="112" y="88"/>
                      </a:cubicBezTo>
                      <a:cubicBezTo>
                        <a:pt x="109" y="96"/>
                        <a:pt x="104" y="106"/>
                        <a:pt x="105" y="110"/>
                      </a:cubicBezTo>
                      <a:cubicBezTo>
                        <a:pt x="100" y="111"/>
                        <a:pt x="97" y="115"/>
                        <a:pt x="94" y="118"/>
                      </a:cubicBezTo>
                      <a:cubicBezTo>
                        <a:pt x="82" y="106"/>
                        <a:pt x="82" y="106"/>
                        <a:pt x="82" y="106"/>
                      </a:cubicBezTo>
                      <a:cubicBezTo>
                        <a:pt x="81" y="105"/>
                        <a:pt x="81" y="105"/>
                        <a:pt x="81" y="105"/>
                      </a:cubicBezTo>
                      <a:cubicBezTo>
                        <a:pt x="73" y="109"/>
                        <a:pt x="65" y="111"/>
                        <a:pt x="56" y="111"/>
                      </a:cubicBezTo>
                      <a:cubicBezTo>
                        <a:pt x="25" y="111"/>
                        <a:pt x="0" y="86"/>
                        <a:pt x="0" y="56"/>
                      </a:cubicBezTo>
                      <a:cubicBezTo>
                        <a:pt x="0" y="25"/>
                        <a:pt x="25" y="0"/>
                        <a:pt x="56" y="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6" name="Freeform 227"/>
                <p:cNvSpPr>
                  <a:spLocks/>
                </p:cNvSpPr>
                <p:nvPr/>
              </p:nvSpPr>
              <p:spPr bwMode="auto">
                <a:xfrm rot="5400000">
                  <a:off x="11575277" y="352539"/>
                  <a:ext cx="135346" cy="141859"/>
                </a:xfrm>
                <a:custGeom>
                  <a:avLst/>
                  <a:gdLst>
                    <a:gd name="T0" fmla="*/ 0 w 93"/>
                    <a:gd name="T1" fmla="*/ 23 h 94"/>
                    <a:gd name="T2" fmla="*/ 46 w 93"/>
                    <a:gd name="T3" fmla="*/ 23 h 94"/>
                    <a:gd name="T4" fmla="*/ 46 w 93"/>
                    <a:gd name="T5" fmla="*/ 0 h 94"/>
                    <a:gd name="T6" fmla="*/ 93 w 93"/>
                    <a:gd name="T7" fmla="*/ 47 h 94"/>
                    <a:gd name="T8" fmla="*/ 46 w 93"/>
                    <a:gd name="T9" fmla="*/ 94 h 94"/>
                    <a:gd name="T10" fmla="*/ 46 w 93"/>
                    <a:gd name="T11" fmla="*/ 71 h 94"/>
                    <a:gd name="T12" fmla="*/ 0 w 93"/>
                    <a:gd name="T13" fmla="*/ 71 h 94"/>
                    <a:gd name="T14" fmla="*/ 0 w 93"/>
                    <a:gd name="T15" fmla="*/ 23 h 94"/>
                    <a:gd name="T16" fmla="*/ 0 w 93"/>
                    <a:gd name="T17"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4">
                      <a:moveTo>
                        <a:pt x="0" y="23"/>
                      </a:moveTo>
                      <a:lnTo>
                        <a:pt x="46" y="23"/>
                      </a:lnTo>
                      <a:lnTo>
                        <a:pt x="46" y="0"/>
                      </a:lnTo>
                      <a:lnTo>
                        <a:pt x="93" y="47"/>
                      </a:lnTo>
                      <a:lnTo>
                        <a:pt x="46" y="94"/>
                      </a:lnTo>
                      <a:lnTo>
                        <a:pt x="46" y="71"/>
                      </a:lnTo>
                      <a:lnTo>
                        <a:pt x="0" y="71"/>
                      </a:lnTo>
                      <a:lnTo>
                        <a:pt x="0" y="23"/>
                      </a:lnTo>
                      <a:lnTo>
                        <a:pt x="0" y="23"/>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7" name="Freeform 228"/>
                <p:cNvSpPr>
                  <a:spLocks/>
                </p:cNvSpPr>
                <p:nvPr/>
              </p:nvSpPr>
              <p:spPr bwMode="auto">
                <a:xfrm rot="5400000">
                  <a:off x="11081949" y="1032392"/>
                  <a:ext cx="136801" cy="89039"/>
                </a:xfrm>
                <a:custGeom>
                  <a:avLst/>
                  <a:gdLst>
                    <a:gd name="T0" fmla="*/ 94 w 94"/>
                    <a:gd name="T1" fmla="*/ 15 h 59"/>
                    <a:gd name="T2" fmla="*/ 30 w 94"/>
                    <a:gd name="T3" fmla="*/ 15 h 59"/>
                    <a:gd name="T4" fmla="*/ 30 w 94"/>
                    <a:gd name="T5" fmla="*/ 0 h 59"/>
                    <a:gd name="T6" fmla="*/ 0 w 94"/>
                    <a:gd name="T7" fmla="*/ 29 h 59"/>
                    <a:gd name="T8" fmla="*/ 30 w 94"/>
                    <a:gd name="T9" fmla="*/ 59 h 59"/>
                    <a:gd name="T10" fmla="*/ 30 w 94"/>
                    <a:gd name="T11" fmla="*/ 44 h 59"/>
                    <a:gd name="T12" fmla="*/ 94 w 94"/>
                    <a:gd name="T13" fmla="*/ 44 h 59"/>
                    <a:gd name="T14" fmla="*/ 94 w 94"/>
                    <a:gd name="T15" fmla="*/ 15 h 59"/>
                    <a:gd name="T16" fmla="*/ 94 w 94"/>
                    <a:gd name="T1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4" y="15"/>
                      </a:moveTo>
                      <a:lnTo>
                        <a:pt x="30" y="15"/>
                      </a:lnTo>
                      <a:lnTo>
                        <a:pt x="30" y="0"/>
                      </a:lnTo>
                      <a:lnTo>
                        <a:pt x="0" y="29"/>
                      </a:lnTo>
                      <a:lnTo>
                        <a:pt x="30" y="59"/>
                      </a:lnTo>
                      <a:lnTo>
                        <a:pt x="30" y="44"/>
                      </a:lnTo>
                      <a:lnTo>
                        <a:pt x="94" y="44"/>
                      </a:lnTo>
                      <a:lnTo>
                        <a:pt x="94" y="15"/>
                      </a:lnTo>
                      <a:lnTo>
                        <a:pt x="94" y="15"/>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8" name="Rectangle 229"/>
                <p:cNvSpPr>
                  <a:spLocks noChangeArrowheads="1"/>
                </p:cNvSpPr>
                <p:nvPr/>
              </p:nvSpPr>
              <p:spPr bwMode="auto">
                <a:xfrm rot="5400000">
                  <a:off x="10574637" y="94138"/>
                  <a:ext cx="82954" cy="37728"/>
                </a:xfrm>
                <a:prstGeom prst="rect">
                  <a:avLst/>
                </a:prstGeom>
                <a:solidFill>
                  <a:srgbClr val="028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9" name="Freeform 230"/>
                <p:cNvSpPr>
                  <a:spLocks/>
                </p:cNvSpPr>
                <p:nvPr/>
              </p:nvSpPr>
              <p:spPr bwMode="auto">
                <a:xfrm rot="5400000">
                  <a:off x="10579003" y="-4768"/>
                  <a:ext cx="74222" cy="116203"/>
                </a:xfrm>
                <a:custGeom>
                  <a:avLst/>
                  <a:gdLst>
                    <a:gd name="T0" fmla="*/ 51 w 51"/>
                    <a:gd name="T1" fmla="*/ 77 h 77"/>
                    <a:gd name="T2" fmla="*/ 0 w 51"/>
                    <a:gd name="T3" fmla="*/ 38 h 77"/>
                    <a:gd name="T4" fmla="*/ 51 w 51"/>
                    <a:gd name="T5" fmla="*/ 0 h 77"/>
                    <a:gd name="T6" fmla="*/ 51 w 51"/>
                    <a:gd name="T7" fmla="*/ 77 h 77"/>
                    <a:gd name="T8" fmla="*/ 51 w 51"/>
                    <a:gd name="T9" fmla="*/ 77 h 77"/>
                  </a:gdLst>
                  <a:ahLst/>
                  <a:cxnLst>
                    <a:cxn ang="0">
                      <a:pos x="T0" y="T1"/>
                    </a:cxn>
                    <a:cxn ang="0">
                      <a:pos x="T2" y="T3"/>
                    </a:cxn>
                    <a:cxn ang="0">
                      <a:pos x="T4" y="T5"/>
                    </a:cxn>
                    <a:cxn ang="0">
                      <a:pos x="T6" y="T7"/>
                    </a:cxn>
                    <a:cxn ang="0">
                      <a:pos x="T8" y="T9"/>
                    </a:cxn>
                  </a:cxnLst>
                  <a:rect l="0" t="0" r="r" b="b"/>
                  <a:pathLst>
                    <a:path w="51" h="77">
                      <a:moveTo>
                        <a:pt x="51" y="77"/>
                      </a:moveTo>
                      <a:lnTo>
                        <a:pt x="0" y="38"/>
                      </a:lnTo>
                      <a:lnTo>
                        <a:pt x="51" y="0"/>
                      </a:lnTo>
                      <a:lnTo>
                        <a:pt x="51" y="77"/>
                      </a:lnTo>
                      <a:lnTo>
                        <a:pt x="51" y="77"/>
                      </a:ln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30" name="Freeform 231"/>
                <p:cNvSpPr>
                  <a:spLocks noEditPoints="1"/>
                </p:cNvSpPr>
                <p:nvPr/>
              </p:nvSpPr>
              <p:spPr bwMode="auto">
                <a:xfrm rot="5400000">
                  <a:off x="11289644" y="565473"/>
                  <a:ext cx="106240" cy="75457"/>
                </a:xfrm>
                <a:custGeom>
                  <a:avLst/>
                  <a:gdLst>
                    <a:gd name="T0" fmla="*/ 41 w 73"/>
                    <a:gd name="T1" fmla="*/ 0 h 50"/>
                    <a:gd name="T2" fmla="*/ 41 w 73"/>
                    <a:gd name="T3" fmla="*/ 50 h 50"/>
                    <a:gd name="T4" fmla="*/ 73 w 73"/>
                    <a:gd name="T5" fmla="*/ 26 h 50"/>
                    <a:gd name="T6" fmla="*/ 41 w 73"/>
                    <a:gd name="T7" fmla="*/ 0 h 50"/>
                    <a:gd name="T8" fmla="*/ 41 w 73"/>
                    <a:gd name="T9" fmla="*/ 0 h 50"/>
                    <a:gd name="T10" fmla="*/ 41 w 73"/>
                    <a:gd name="T11" fmla="*/ 0 h 50"/>
                    <a:gd name="T12" fmla="*/ 32 w 73"/>
                    <a:gd name="T13" fmla="*/ 26 h 50"/>
                    <a:gd name="T14" fmla="*/ 0 w 73"/>
                    <a:gd name="T15" fmla="*/ 50 h 50"/>
                    <a:gd name="T16" fmla="*/ 0 w 73"/>
                    <a:gd name="T17" fmla="*/ 0 h 50"/>
                    <a:gd name="T18" fmla="*/ 32 w 73"/>
                    <a:gd name="T19" fmla="*/ 26 h 50"/>
                    <a:gd name="T20" fmla="*/ 32 w 73"/>
                    <a:gd name="T21" fmla="*/ 26 h 50"/>
                    <a:gd name="T22" fmla="*/ 32 w 73"/>
                    <a:gd name="T23"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0">
                      <a:moveTo>
                        <a:pt x="41" y="0"/>
                      </a:moveTo>
                      <a:lnTo>
                        <a:pt x="41" y="50"/>
                      </a:lnTo>
                      <a:lnTo>
                        <a:pt x="73" y="26"/>
                      </a:lnTo>
                      <a:lnTo>
                        <a:pt x="41" y="0"/>
                      </a:lnTo>
                      <a:lnTo>
                        <a:pt x="41" y="0"/>
                      </a:lnTo>
                      <a:lnTo>
                        <a:pt x="41" y="0"/>
                      </a:lnTo>
                      <a:close/>
                      <a:moveTo>
                        <a:pt x="32" y="26"/>
                      </a:moveTo>
                      <a:lnTo>
                        <a:pt x="0" y="50"/>
                      </a:lnTo>
                      <a:lnTo>
                        <a:pt x="0" y="0"/>
                      </a:lnTo>
                      <a:lnTo>
                        <a:pt x="32" y="26"/>
                      </a:lnTo>
                      <a:lnTo>
                        <a:pt x="32" y="26"/>
                      </a:lnTo>
                      <a:lnTo>
                        <a:pt x="32" y="26"/>
                      </a:ln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31" name="Group 630"/>
                <p:cNvGrpSpPr/>
                <p:nvPr/>
              </p:nvGrpSpPr>
              <p:grpSpPr>
                <a:xfrm rot="16200000">
                  <a:off x="10598176" y="1571948"/>
                  <a:ext cx="313901" cy="133891"/>
                  <a:chOff x="10648560" y="1439289"/>
                  <a:chExt cx="313901" cy="133891"/>
                </a:xfrm>
              </p:grpSpPr>
              <p:sp>
                <p:nvSpPr>
                  <p:cNvPr id="651" name="Freeform 233"/>
                  <p:cNvSpPr>
                    <a:spLocks noEditPoints="1"/>
                  </p:cNvSpPr>
                  <p:nvPr/>
                </p:nvSpPr>
                <p:spPr bwMode="auto">
                  <a:xfrm rot="5400000">
                    <a:off x="10847925" y="1485053"/>
                    <a:ext cx="90231" cy="45274"/>
                  </a:xfrm>
                  <a:custGeom>
                    <a:avLst/>
                    <a:gdLst>
                      <a:gd name="T0" fmla="*/ 0 w 83"/>
                      <a:gd name="T1" fmla="*/ 21 h 39"/>
                      <a:gd name="T2" fmla="*/ 0 w 83"/>
                      <a:gd name="T3" fmla="*/ 21 h 39"/>
                      <a:gd name="T4" fmla="*/ 0 w 83"/>
                      <a:gd name="T5" fmla="*/ 21 h 39"/>
                      <a:gd name="T6" fmla="*/ 32 w 83"/>
                      <a:gd name="T7" fmla="*/ 0 h 39"/>
                      <a:gd name="T8" fmla="*/ 42 w 83"/>
                      <a:gd name="T9" fmla="*/ 16 h 39"/>
                      <a:gd name="T10" fmla="*/ 51 w 83"/>
                      <a:gd name="T11" fmla="*/ 0 h 39"/>
                      <a:gd name="T12" fmla="*/ 64 w 83"/>
                      <a:gd name="T13" fmla="*/ 3 h 39"/>
                      <a:gd name="T14" fmla="*/ 83 w 83"/>
                      <a:gd name="T15" fmla="*/ 21 h 39"/>
                      <a:gd name="T16" fmla="*/ 83 w 83"/>
                      <a:gd name="T17" fmla="*/ 21 h 39"/>
                      <a:gd name="T18" fmla="*/ 64 w 83"/>
                      <a:gd name="T19" fmla="*/ 39 h 39"/>
                      <a:gd name="T20" fmla="*/ 19 w 83"/>
                      <a:gd name="T21" fmla="*/ 39 h 39"/>
                      <a:gd name="T22" fmla="*/ 0 w 83"/>
                      <a:gd name="T23" fmla="*/ 21 h 39"/>
                      <a:gd name="T24" fmla="*/ 19 w 83"/>
                      <a:gd name="T25" fmla="*/ 3 h 39"/>
                      <a:gd name="T26" fmla="*/ 32 w 83"/>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39">
                        <a:moveTo>
                          <a:pt x="0" y="21"/>
                        </a:moveTo>
                        <a:cubicBezTo>
                          <a:pt x="0" y="21"/>
                          <a:pt x="0" y="21"/>
                          <a:pt x="0" y="21"/>
                        </a:cubicBezTo>
                        <a:cubicBezTo>
                          <a:pt x="0" y="21"/>
                          <a:pt x="0" y="21"/>
                          <a:pt x="0" y="21"/>
                        </a:cubicBezTo>
                        <a:close/>
                        <a:moveTo>
                          <a:pt x="32" y="0"/>
                        </a:moveTo>
                        <a:cubicBezTo>
                          <a:pt x="42" y="16"/>
                          <a:pt x="42" y="16"/>
                          <a:pt x="42" y="16"/>
                        </a:cubicBezTo>
                        <a:cubicBezTo>
                          <a:pt x="51" y="0"/>
                          <a:pt x="51" y="0"/>
                          <a:pt x="51" y="0"/>
                        </a:cubicBezTo>
                        <a:cubicBezTo>
                          <a:pt x="55" y="1"/>
                          <a:pt x="60" y="3"/>
                          <a:pt x="64" y="3"/>
                        </a:cubicBezTo>
                        <a:cubicBezTo>
                          <a:pt x="74" y="3"/>
                          <a:pt x="83" y="11"/>
                          <a:pt x="83" y="21"/>
                        </a:cubicBezTo>
                        <a:cubicBezTo>
                          <a:pt x="83" y="21"/>
                          <a:pt x="83" y="21"/>
                          <a:pt x="83" y="21"/>
                        </a:cubicBezTo>
                        <a:cubicBezTo>
                          <a:pt x="83" y="31"/>
                          <a:pt x="74" y="39"/>
                          <a:pt x="64" y="39"/>
                        </a:cubicBezTo>
                        <a:cubicBezTo>
                          <a:pt x="19" y="39"/>
                          <a:pt x="19" y="39"/>
                          <a:pt x="19" y="39"/>
                        </a:cubicBezTo>
                        <a:cubicBezTo>
                          <a:pt x="9" y="39"/>
                          <a:pt x="0" y="31"/>
                          <a:pt x="0" y="21"/>
                        </a:cubicBezTo>
                        <a:cubicBezTo>
                          <a:pt x="0" y="11"/>
                          <a:pt x="9" y="3"/>
                          <a:pt x="19" y="3"/>
                        </a:cubicBezTo>
                        <a:cubicBezTo>
                          <a:pt x="23" y="3"/>
                          <a:pt x="28" y="1"/>
                          <a:pt x="32" y="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52" name="Group 651"/>
                  <p:cNvGrpSpPr/>
                  <p:nvPr/>
                </p:nvGrpSpPr>
                <p:grpSpPr>
                  <a:xfrm>
                    <a:off x="10648560" y="1439289"/>
                    <a:ext cx="313901" cy="133891"/>
                    <a:chOff x="10648560" y="1439289"/>
                    <a:chExt cx="313901" cy="133891"/>
                  </a:xfrm>
                </p:grpSpPr>
                <p:sp>
                  <p:nvSpPr>
                    <p:cNvPr id="653" name="Oval 232"/>
                    <p:cNvSpPr>
                      <a:spLocks noChangeArrowheads="1"/>
                    </p:cNvSpPr>
                    <p:nvPr/>
                  </p:nvSpPr>
                  <p:spPr bwMode="auto">
                    <a:xfrm rot="5400000">
                      <a:off x="10921632" y="1484325"/>
                      <a:ext cx="36384" cy="45274"/>
                    </a:xfrm>
                    <a:prstGeom prst="ellipse">
                      <a:avLst/>
                    </a:pr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4" name="Freeform 234"/>
                    <p:cNvSpPr>
                      <a:spLocks/>
                    </p:cNvSpPr>
                    <p:nvPr/>
                  </p:nvSpPr>
                  <p:spPr bwMode="auto">
                    <a:xfrm rot="5400000">
                      <a:off x="10790256" y="1459397"/>
                      <a:ext cx="72767" cy="96585"/>
                    </a:xfrm>
                    <a:custGeom>
                      <a:avLst/>
                      <a:gdLst>
                        <a:gd name="T0" fmla="*/ 0 w 67"/>
                        <a:gd name="T1" fmla="*/ 0 h 85"/>
                        <a:gd name="T2" fmla="*/ 67 w 67"/>
                        <a:gd name="T3" fmla="*/ 0 h 85"/>
                        <a:gd name="T4" fmla="*/ 67 w 67"/>
                        <a:gd name="T5" fmla="*/ 23 h 85"/>
                        <a:gd name="T6" fmla="*/ 56 w 67"/>
                        <a:gd name="T7" fmla="*/ 47 h 85"/>
                        <a:gd name="T8" fmla="*/ 62 w 67"/>
                        <a:gd name="T9" fmla="*/ 62 h 85"/>
                        <a:gd name="T10" fmla="*/ 67 w 67"/>
                        <a:gd name="T11" fmla="*/ 63 h 85"/>
                        <a:gd name="T12" fmla="*/ 67 w 67"/>
                        <a:gd name="T13" fmla="*/ 71 h 85"/>
                        <a:gd name="T14" fmla="*/ 67 w 67"/>
                        <a:gd name="T15" fmla="*/ 79 h 85"/>
                        <a:gd name="T16" fmla="*/ 67 w 67"/>
                        <a:gd name="T17" fmla="*/ 85 h 85"/>
                        <a:gd name="T18" fmla="*/ 0 w 67"/>
                        <a:gd name="T19" fmla="*/ 85 h 85"/>
                        <a:gd name="T20" fmla="*/ 0 w 67"/>
                        <a:gd name="T21" fmla="*/ 79 h 85"/>
                        <a:gd name="T22" fmla="*/ 0 w 67"/>
                        <a:gd name="T23" fmla="*/ 71 h 85"/>
                        <a:gd name="T24" fmla="*/ 0 w 67"/>
                        <a:gd name="T25" fmla="*/ 63 h 85"/>
                        <a:gd name="T26" fmla="*/ 5 w 67"/>
                        <a:gd name="T27" fmla="*/ 62 h 85"/>
                        <a:gd name="T28" fmla="*/ 11 w 67"/>
                        <a:gd name="T29" fmla="*/ 47 h 85"/>
                        <a:gd name="T30" fmla="*/ 0 w 67"/>
                        <a:gd name="T31" fmla="*/ 23 h 85"/>
                        <a:gd name="T32" fmla="*/ 0 w 67"/>
                        <a:gd name="T3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5">
                          <a:moveTo>
                            <a:pt x="0" y="0"/>
                          </a:moveTo>
                          <a:cubicBezTo>
                            <a:pt x="67" y="0"/>
                            <a:pt x="67" y="0"/>
                            <a:pt x="67" y="0"/>
                          </a:cubicBezTo>
                          <a:cubicBezTo>
                            <a:pt x="67" y="23"/>
                            <a:pt x="67" y="23"/>
                            <a:pt x="67" y="23"/>
                          </a:cubicBezTo>
                          <a:cubicBezTo>
                            <a:pt x="56" y="47"/>
                            <a:pt x="56" y="47"/>
                            <a:pt x="56" y="47"/>
                          </a:cubicBezTo>
                          <a:cubicBezTo>
                            <a:pt x="54" y="52"/>
                            <a:pt x="56" y="59"/>
                            <a:pt x="62" y="62"/>
                          </a:cubicBezTo>
                          <a:cubicBezTo>
                            <a:pt x="64" y="63"/>
                            <a:pt x="66" y="63"/>
                            <a:pt x="67" y="63"/>
                          </a:cubicBezTo>
                          <a:cubicBezTo>
                            <a:pt x="67" y="71"/>
                            <a:pt x="67" y="71"/>
                            <a:pt x="67" y="71"/>
                          </a:cubicBezTo>
                          <a:cubicBezTo>
                            <a:pt x="67" y="79"/>
                            <a:pt x="67" y="79"/>
                            <a:pt x="67" y="79"/>
                          </a:cubicBezTo>
                          <a:cubicBezTo>
                            <a:pt x="67" y="85"/>
                            <a:pt x="67" y="85"/>
                            <a:pt x="67" y="85"/>
                          </a:cubicBezTo>
                          <a:cubicBezTo>
                            <a:pt x="0" y="85"/>
                            <a:pt x="0" y="85"/>
                            <a:pt x="0" y="85"/>
                          </a:cubicBezTo>
                          <a:cubicBezTo>
                            <a:pt x="0" y="79"/>
                            <a:pt x="0" y="79"/>
                            <a:pt x="0" y="79"/>
                          </a:cubicBezTo>
                          <a:cubicBezTo>
                            <a:pt x="0" y="71"/>
                            <a:pt x="0" y="71"/>
                            <a:pt x="0" y="71"/>
                          </a:cubicBezTo>
                          <a:cubicBezTo>
                            <a:pt x="0" y="63"/>
                            <a:pt x="0" y="63"/>
                            <a:pt x="0" y="63"/>
                          </a:cubicBezTo>
                          <a:cubicBezTo>
                            <a:pt x="1" y="63"/>
                            <a:pt x="3" y="63"/>
                            <a:pt x="5" y="62"/>
                          </a:cubicBezTo>
                          <a:cubicBezTo>
                            <a:pt x="11" y="59"/>
                            <a:pt x="13" y="52"/>
                            <a:pt x="11" y="47"/>
                          </a:cubicBezTo>
                          <a:cubicBezTo>
                            <a:pt x="0" y="23"/>
                            <a:pt x="0" y="23"/>
                            <a:pt x="0" y="23"/>
                          </a:cubicBezTo>
                          <a:cubicBezTo>
                            <a:pt x="0" y="0"/>
                            <a:pt x="0" y="0"/>
                            <a:pt x="0" y="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5" name="Freeform 235"/>
                    <p:cNvSpPr>
                      <a:spLocks/>
                    </p:cNvSpPr>
                    <p:nvPr/>
                  </p:nvSpPr>
                  <p:spPr bwMode="auto">
                    <a:xfrm rot="5400000">
                      <a:off x="10707901" y="1416331"/>
                      <a:ext cx="26196" cy="144877"/>
                    </a:xfrm>
                    <a:custGeom>
                      <a:avLst/>
                      <a:gdLst>
                        <a:gd name="T0" fmla="*/ 0 w 23"/>
                        <a:gd name="T1" fmla="*/ 12 h 127"/>
                        <a:gd name="T2" fmla="*/ 12 w 23"/>
                        <a:gd name="T3" fmla="*/ 0 h 127"/>
                        <a:gd name="T4" fmla="*/ 12 w 23"/>
                        <a:gd name="T5" fmla="*/ 0 h 127"/>
                        <a:gd name="T6" fmla="*/ 23 w 23"/>
                        <a:gd name="T7" fmla="*/ 12 h 127"/>
                        <a:gd name="T8" fmla="*/ 23 w 23"/>
                        <a:gd name="T9" fmla="*/ 115 h 127"/>
                        <a:gd name="T10" fmla="*/ 12 w 23"/>
                        <a:gd name="T11" fmla="*/ 127 h 127"/>
                        <a:gd name="T12" fmla="*/ 12 w 23"/>
                        <a:gd name="T13" fmla="*/ 127 h 127"/>
                        <a:gd name="T14" fmla="*/ 0 w 23"/>
                        <a:gd name="T15" fmla="*/ 115 h 127"/>
                        <a:gd name="T16" fmla="*/ 0 w 23"/>
                        <a:gd name="T17" fmla="*/ 1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7">
                          <a:moveTo>
                            <a:pt x="0" y="12"/>
                          </a:moveTo>
                          <a:cubicBezTo>
                            <a:pt x="0" y="6"/>
                            <a:pt x="6" y="0"/>
                            <a:pt x="12" y="0"/>
                          </a:cubicBezTo>
                          <a:cubicBezTo>
                            <a:pt x="12" y="0"/>
                            <a:pt x="12" y="0"/>
                            <a:pt x="12" y="0"/>
                          </a:cubicBezTo>
                          <a:cubicBezTo>
                            <a:pt x="18" y="0"/>
                            <a:pt x="23" y="6"/>
                            <a:pt x="23" y="12"/>
                          </a:cubicBezTo>
                          <a:cubicBezTo>
                            <a:pt x="23" y="115"/>
                            <a:pt x="23" y="115"/>
                            <a:pt x="23" y="115"/>
                          </a:cubicBezTo>
                          <a:cubicBezTo>
                            <a:pt x="23" y="121"/>
                            <a:pt x="18" y="127"/>
                            <a:pt x="12" y="127"/>
                          </a:cubicBezTo>
                          <a:cubicBezTo>
                            <a:pt x="12" y="127"/>
                            <a:pt x="12" y="127"/>
                            <a:pt x="12" y="127"/>
                          </a:cubicBezTo>
                          <a:cubicBezTo>
                            <a:pt x="6" y="127"/>
                            <a:pt x="0" y="121"/>
                            <a:pt x="0" y="115"/>
                          </a:cubicBezTo>
                          <a:lnTo>
                            <a:pt x="0" y="12"/>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6" name="Freeform 236"/>
                    <p:cNvSpPr>
                      <a:spLocks/>
                    </p:cNvSpPr>
                    <p:nvPr/>
                  </p:nvSpPr>
                  <p:spPr bwMode="auto">
                    <a:xfrm rot="5400000">
                      <a:off x="10708629" y="1453442"/>
                      <a:ext cx="24741" cy="144877"/>
                    </a:xfrm>
                    <a:custGeom>
                      <a:avLst/>
                      <a:gdLst>
                        <a:gd name="T0" fmla="*/ 0 w 23"/>
                        <a:gd name="T1" fmla="*/ 12 h 127"/>
                        <a:gd name="T2" fmla="*/ 11 w 23"/>
                        <a:gd name="T3" fmla="*/ 0 h 127"/>
                        <a:gd name="T4" fmla="*/ 11 w 23"/>
                        <a:gd name="T5" fmla="*/ 0 h 127"/>
                        <a:gd name="T6" fmla="*/ 23 w 23"/>
                        <a:gd name="T7" fmla="*/ 12 h 127"/>
                        <a:gd name="T8" fmla="*/ 23 w 23"/>
                        <a:gd name="T9" fmla="*/ 115 h 127"/>
                        <a:gd name="T10" fmla="*/ 11 w 23"/>
                        <a:gd name="T11" fmla="*/ 127 h 127"/>
                        <a:gd name="T12" fmla="*/ 11 w 23"/>
                        <a:gd name="T13" fmla="*/ 127 h 127"/>
                        <a:gd name="T14" fmla="*/ 0 w 23"/>
                        <a:gd name="T15" fmla="*/ 115 h 127"/>
                        <a:gd name="T16" fmla="*/ 0 w 23"/>
                        <a:gd name="T17" fmla="*/ 1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7">
                          <a:moveTo>
                            <a:pt x="0" y="12"/>
                          </a:moveTo>
                          <a:cubicBezTo>
                            <a:pt x="0" y="6"/>
                            <a:pt x="5" y="0"/>
                            <a:pt x="11" y="0"/>
                          </a:cubicBezTo>
                          <a:cubicBezTo>
                            <a:pt x="11" y="0"/>
                            <a:pt x="11" y="0"/>
                            <a:pt x="11" y="0"/>
                          </a:cubicBezTo>
                          <a:cubicBezTo>
                            <a:pt x="17" y="0"/>
                            <a:pt x="23" y="6"/>
                            <a:pt x="23" y="12"/>
                          </a:cubicBezTo>
                          <a:cubicBezTo>
                            <a:pt x="23" y="115"/>
                            <a:pt x="23" y="115"/>
                            <a:pt x="23" y="115"/>
                          </a:cubicBezTo>
                          <a:cubicBezTo>
                            <a:pt x="23" y="121"/>
                            <a:pt x="17" y="127"/>
                            <a:pt x="11" y="127"/>
                          </a:cubicBezTo>
                          <a:cubicBezTo>
                            <a:pt x="11" y="127"/>
                            <a:pt x="11" y="127"/>
                            <a:pt x="11" y="127"/>
                          </a:cubicBezTo>
                          <a:cubicBezTo>
                            <a:pt x="5" y="127"/>
                            <a:pt x="0" y="121"/>
                            <a:pt x="0" y="115"/>
                          </a:cubicBezTo>
                          <a:lnTo>
                            <a:pt x="0" y="12"/>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7" name="Freeform 237"/>
                    <p:cNvSpPr>
                      <a:spLocks/>
                    </p:cNvSpPr>
                    <p:nvPr/>
                  </p:nvSpPr>
                  <p:spPr bwMode="auto">
                    <a:xfrm rot="5400000">
                      <a:off x="10853883" y="1518930"/>
                      <a:ext cx="45116" cy="63384"/>
                    </a:xfrm>
                    <a:custGeom>
                      <a:avLst/>
                      <a:gdLst>
                        <a:gd name="T0" fmla="*/ 3 w 41"/>
                        <a:gd name="T1" fmla="*/ 15 h 56"/>
                        <a:gd name="T2" fmla="*/ 6 w 41"/>
                        <a:gd name="T3" fmla="*/ 2 h 56"/>
                        <a:gd name="T4" fmla="*/ 6 w 41"/>
                        <a:gd name="T5" fmla="*/ 2 h 56"/>
                        <a:gd name="T6" fmla="*/ 19 w 41"/>
                        <a:gd name="T7" fmla="*/ 6 h 56"/>
                        <a:gd name="T8" fmla="*/ 39 w 41"/>
                        <a:gd name="T9" fmla="*/ 40 h 56"/>
                        <a:gd name="T10" fmla="*/ 35 w 41"/>
                        <a:gd name="T11" fmla="*/ 53 h 56"/>
                        <a:gd name="T12" fmla="*/ 35 w 41"/>
                        <a:gd name="T13" fmla="*/ 53 h 56"/>
                        <a:gd name="T14" fmla="*/ 23 w 41"/>
                        <a:gd name="T15" fmla="*/ 49 h 56"/>
                        <a:gd name="T16" fmla="*/ 3 w 41"/>
                        <a:gd name="T17"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6">
                          <a:moveTo>
                            <a:pt x="3" y="15"/>
                          </a:moveTo>
                          <a:cubicBezTo>
                            <a:pt x="0" y="11"/>
                            <a:pt x="2" y="5"/>
                            <a:pt x="6" y="2"/>
                          </a:cubicBezTo>
                          <a:cubicBezTo>
                            <a:pt x="6" y="2"/>
                            <a:pt x="6" y="2"/>
                            <a:pt x="6" y="2"/>
                          </a:cubicBezTo>
                          <a:cubicBezTo>
                            <a:pt x="11" y="0"/>
                            <a:pt x="17" y="1"/>
                            <a:pt x="19" y="6"/>
                          </a:cubicBezTo>
                          <a:cubicBezTo>
                            <a:pt x="39" y="40"/>
                            <a:pt x="39" y="40"/>
                            <a:pt x="39" y="40"/>
                          </a:cubicBezTo>
                          <a:cubicBezTo>
                            <a:pt x="41" y="45"/>
                            <a:pt x="40" y="50"/>
                            <a:pt x="35" y="53"/>
                          </a:cubicBezTo>
                          <a:cubicBezTo>
                            <a:pt x="35" y="53"/>
                            <a:pt x="35" y="53"/>
                            <a:pt x="35" y="53"/>
                          </a:cubicBezTo>
                          <a:cubicBezTo>
                            <a:pt x="31" y="56"/>
                            <a:pt x="25" y="54"/>
                            <a:pt x="23" y="49"/>
                          </a:cubicBezTo>
                          <a:lnTo>
                            <a:pt x="3" y="15"/>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8" name="Freeform 238"/>
                    <p:cNvSpPr>
                      <a:spLocks/>
                    </p:cNvSpPr>
                    <p:nvPr/>
                  </p:nvSpPr>
                  <p:spPr bwMode="auto">
                    <a:xfrm rot="5400000">
                      <a:off x="10816047" y="1523350"/>
                      <a:ext cx="39294" cy="60365"/>
                    </a:xfrm>
                    <a:custGeom>
                      <a:avLst/>
                      <a:gdLst>
                        <a:gd name="T0" fmla="*/ 19 w 36"/>
                        <a:gd name="T1" fmla="*/ 6 h 54"/>
                        <a:gd name="T2" fmla="*/ 30 w 36"/>
                        <a:gd name="T3" fmla="*/ 2 h 54"/>
                        <a:gd name="T4" fmla="*/ 30 w 36"/>
                        <a:gd name="T5" fmla="*/ 2 h 54"/>
                        <a:gd name="T6" fmla="*/ 34 w 36"/>
                        <a:gd name="T7" fmla="*/ 13 h 54"/>
                        <a:gd name="T8" fmla="*/ 18 w 36"/>
                        <a:gd name="T9" fmla="*/ 48 h 54"/>
                        <a:gd name="T10" fmla="*/ 6 w 36"/>
                        <a:gd name="T11" fmla="*/ 52 h 54"/>
                        <a:gd name="T12" fmla="*/ 6 w 36"/>
                        <a:gd name="T13" fmla="*/ 52 h 54"/>
                        <a:gd name="T14" fmla="*/ 2 w 36"/>
                        <a:gd name="T15" fmla="*/ 41 h 54"/>
                        <a:gd name="T16" fmla="*/ 19 w 36"/>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4">
                          <a:moveTo>
                            <a:pt x="19" y="6"/>
                          </a:moveTo>
                          <a:cubicBezTo>
                            <a:pt x="21" y="1"/>
                            <a:pt x="26" y="0"/>
                            <a:pt x="30" y="2"/>
                          </a:cubicBezTo>
                          <a:cubicBezTo>
                            <a:pt x="30" y="2"/>
                            <a:pt x="30" y="2"/>
                            <a:pt x="30" y="2"/>
                          </a:cubicBezTo>
                          <a:cubicBezTo>
                            <a:pt x="34" y="4"/>
                            <a:pt x="36" y="9"/>
                            <a:pt x="34" y="13"/>
                          </a:cubicBezTo>
                          <a:cubicBezTo>
                            <a:pt x="18" y="48"/>
                            <a:pt x="18" y="48"/>
                            <a:pt x="18" y="48"/>
                          </a:cubicBezTo>
                          <a:cubicBezTo>
                            <a:pt x="16" y="52"/>
                            <a:pt x="11" y="54"/>
                            <a:pt x="6" y="52"/>
                          </a:cubicBezTo>
                          <a:cubicBezTo>
                            <a:pt x="6" y="52"/>
                            <a:pt x="6" y="52"/>
                            <a:pt x="6" y="52"/>
                          </a:cubicBezTo>
                          <a:cubicBezTo>
                            <a:pt x="2" y="50"/>
                            <a:pt x="0" y="45"/>
                            <a:pt x="2" y="41"/>
                          </a:cubicBezTo>
                          <a:lnTo>
                            <a:pt x="19" y="6"/>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9" name="Freeform 239"/>
                    <p:cNvSpPr>
                      <a:spLocks/>
                    </p:cNvSpPr>
                    <p:nvPr/>
                  </p:nvSpPr>
                  <p:spPr bwMode="auto">
                    <a:xfrm rot="5400000">
                      <a:off x="10853155" y="1430883"/>
                      <a:ext cx="46571" cy="63384"/>
                    </a:xfrm>
                    <a:custGeom>
                      <a:avLst/>
                      <a:gdLst>
                        <a:gd name="T0" fmla="*/ 39 w 42"/>
                        <a:gd name="T1" fmla="*/ 15 h 56"/>
                        <a:gd name="T2" fmla="*/ 36 w 42"/>
                        <a:gd name="T3" fmla="*/ 2 h 56"/>
                        <a:gd name="T4" fmla="*/ 36 w 42"/>
                        <a:gd name="T5" fmla="*/ 2 h 56"/>
                        <a:gd name="T6" fmla="*/ 23 w 42"/>
                        <a:gd name="T7" fmla="*/ 6 h 56"/>
                        <a:gd name="T8" fmla="*/ 3 w 42"/>
                        <a:gd name="T9" fmla="*/ 40 h 56"/>
                        <a:gd name="T10" fmla="*/ 7 w 42"/>
                        <a:gd name="T11" fmla="*/ 53 h 56"/>
                        <a:gd name="T12" fmla="*/ 7 w 42"/>
                        <a:gd name="T13" fmla="*/ 53 h 56"/>
                        <a:gd name="T14" fmla="*/ 19 w 42"/>
                        <a:gd name="T15" fmla="*/ 49 h 56"/>
                        <a:gd name="T16" fmla="*/ 39 w 42"/>
                        <a:gd name="T17"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6">
                          <a:moveTo>
                            <a:pt x="39" y="15"/>
                          </a:moveTo>
                          <a:cubicBezTo>
                            <a:pt x="42" y="11"/>
                            <a:pt x="40" y="5"/>
                            <a:pt x="36" y="2"/>
                          </a:cubicBezTo>
                          <a:cubicBezTo>
                            <a:pt x="36" y="2"/>
                            <a:pt x="36" y="2"/>
                            <a:pt x="36" y="2"/>
                          </a:cubicBezTo>
                          <a:cubicBezTo>
                            <a:pt x="31" y="0"/>
                            <a:pt x="25" y="1"/>
                            <a:pt x="23" y="6"/>
                          </a:cubicBezTo>
                          <a:cubicBezTo>
                            <a:pt x="3" y="40"/>
                            <a:pt x="3" y="40"/>
                            <a:pt x="3" y="40"/>
                          </a:cubicBezTo>
                          <a:cubicBezTo>
                            <a:pt x="0" y="45"/>
                            <a:pt x="2" y="50"/>
                            <a:pt x="7" y="53"/>
                          </a:cubicBezTo>
                          <a:cubicBezTo>
                            <a:pt x="7" y="53"/>
                            <a:pt x="7" y="53"/>
                            <a:pt x="7" y="53"/>
                          </a:cubicBezTo>
                          <a:cubicBezTo>
                            <a:pt x="11" y="56"/>
                            <a:pt x="17" y="54"/>
                            <a:pt x="19" y="49"/>
                          </a:cubicBezTo>
                          <a:lnTo>
                            <a:pt x="39" y="15"/>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60" name="Freeform 240"/>
                    <p:cNvSpPr>
                      <a:spLocks/>
                    </p:cNvSpPr>
                    <p:nvPr/>
                  </p:nvSpPr>
                  <p:spPr bwMode="auto">
                    <a:xfrm rot="5400000">
                      <a:off x="10816047" y="1431664"/>
                      <a:ext cx="39294" cy="60365"/>
                    </a:xfrm>
                    <a:custGeom>
                      <a:avLst/>
                      <a:gdLst>
                        <a:gd name="T0" fmla="*/ 17 w 36"/>
                        <a:gd name="T1" fmla="*/ 6 h 54"/>
                        <a:gd name="T2" fmla="*/ 6 w 36"/>
                        <a:gd name="T3" fmla="*/ 2 h 54"/>
                        <a:gd name="T4" fmla="*/ 6 w 36"/>
                        <a:gd name="T5" fmla="*/ 2 h 54"/>
                        <a:gd name="T6" fmla="*/ 2 w 36"/>
                        <a:gd name="T7" fmla="*/ 13 h 54"/>
                        <a:gd name="T8" fmla="*/ 18 w 36"/>
                        <a:gd name="T9" fmla="*/ 48 h 54"/>
                        <a:gd name="T10" fmla="*/ 30 w 36"/>
                        <a:gd name="T11" fmla="*/ 52 h 54"/>
                        <a:gd name="T12" fmla="*/ 30 w 36"/>
                        <a:gd name="T13" fmla="*/ 52 h 54"/>
                        <a:gd name="T14" fmla="*/ 34 w 36"/>
                        <a:gd name="T15" fmla="*/ 41 h 54"/>
                        <a:gd name="T16" fmla="*/ 17 w 36"/>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4">
                          <a:moveTo>
                            <a:pt x="17" y="6"/>
                          </a:moveTo>
                          <a:cubicBezTo>
                            <a:pt x="15" y="1"/>
                            <a:pt x="10" y="0"/>
                            <a:pt x="6" y="2"/>
                          </a:cubicBezTo>
                          <a:cubicBezTo>
                            <a:pt x="6" y="2"/>
                            <a:pt x="6" y="2"/>
                            <a:pt x="6" y="2"/>
                          </a:cubicBezTo>
                          <a:cubicBezTo>
                            <a:pt x="1" y="4"/>
                            <a:pt x="0" y="9"/>
                            <a:pt x="2" y="13"/>
                          </a:cubicBezTo>
                          <a:cubicBezTo>
                            <a:pt x="18" y="48"/>
                            <a:pt x="18" y="48"/>
                            <a:pt x="18" y="48"/>
                          </a:cubicBezTo>
                          <a:cubicBezTo>
                            <a:pt x="20" y="52"/>
                            <a:pt x="25" y="54"/>
                            <a:pt x="30" y="52"/>
                          </a:cubicBezTo>
                          <a:cubicBezTo>
                            <a:pt x="30" y="52"/>
                            <a:pt x="30" y="52"/>
                            <a:pt x="30" y="52"/>
                          </a:cubicBezTo>
                          <a:cubicBezTo>
                            <a:pt x="34" y="50"/>
                            <a:pt x="36" y="45"/>
                            <a:pt x="34" y="41"/>
                          </a:cubicBezTo>
                          <a:lnTo>
                            <a:pt x="17" y="6"/>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sp>
              <p:nvSpPr>
                <p:cNvPr id="632" name="Freeform 241"/>
                <p:cNvSpPr>
                  <a:spLocks noEditPoints="1"/>
                </p:cNvSpPr>
                <p:nvPr/>
              </p:nvSpPr>
              <p:spPr bwMode="auto">
                <a:xfrm>
                  <a:off x="12000421" y="1707561"/>
                  <a:ext cx="104784" cy="176569"/>
                </a:xfrm>
                <a:custGeom>
                  <a:avLst/>
                  <a:gdLst>
                    <a:gd name="T0" fmla="*/ 82 w 95"/>
                    <a:gd name="T1" fmla="*/ 13 h 155"/>
                    <a:gd name="T2" fmla="*/ 49 w 95"/>
                    <a:gd name="T3" fmla="*/ 0 h 155"/>
                    <a:gd name="T4" fmla="*/ 16 w 95"/>
                    <a:gd name="T5" fmla="*/ 13 h 155"/>
                    <a:gd name="T6" fmla="*/ 0 w 95"/>
                    <a:gd name="T7" fmla="*/ 46 h 155"/>
                    <a:gd name="T8" fmla="*/ 8 w 95"/>
                    <a:gd name="T9" fmla="*/ 75 h 155"/>
                    <a:gd name="T10" fmla="*/ 31 w 95"/>
                    <a:gd name="T11" fmla="*/ 106 h 155"/>
                    <a:gd name="T12" fmla="*/ 45 w 95"/>
                    <a:gd name="T13" fmla="*/ 155 h 155"/>
                    <a:gd name="T14" fmla="*/ 53 w 95"/>
                    <a:gd name="T15" fmla="*/ 155 h 155"/>
                    <a:gd name="T16" fmla="*/ 72 w 95"/>
                    <a:gd name="T17" fmla="*/ 95 h 155"/>
                    <a:gd name="T18" fmla="*/ 88 w 95"/>
                    <a:gd name="T19" fmla="*/ 75 h 155"/>
                    <a:gd name="T20" fmla="*/ 95 w 95"/>
                    <a:gd name="T21" fmla="*/ 46 h 155"/>
                    <a:gd name="T22" fmla="*/ 82 w 95"/>
                    <a:gd name="T23" fmla="*/ 13 h 155"/>
                    <a:gd name="T24" fmla="*/ 49 w 95"/>
                    <a:gd name="T25" fmla="*/ 71 h 155"/>
                    <a:gd name="T26" fmla="*/ 25 w 95"/>
                    <a:gd name="T27" fmla="*/ 48 h 155"/>
                    <a:gd name="T28" fmla="*/ 49 w 95"/>
                    <a:gd name="T29" fmla="*/ 27 h 155"/>
                    <a:gd name="T30" fmla="*/ 70 w 95"/>
                    <a:gd name="T31" fmla="*/ 48 h 155"/>
                    <a:gd name="T32" fmla="*/ 49 w 95"/>
                    <a:gd name="T33" fmla="*/ 7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155">
                      <a:moveTo>
                        <a:pt x="82" y="13"/>
                      </a:moveTo>
                      <a:cubicBezTo>
                        <a:pt x="72" y="6"/>
                        <a:pt x="60" y="0"/>
                        <a:pt x="49" y="0"/>
                      </a:cubicBezTo>
                      <a:cubicBezTo>
                        <a:pt x="35" y="0"/>
                        <a:pt x="24" y="6"/>
                        <a:pt x="16" y="13"/>
                      </a:cubicBezTo>
                      <a:cubicBezTo>
                        <a:pt x="6" y="23"/>
                        <a:pt x="0" y="35"/>
                        <a:pt x="0" y="46"/>
                      </a:cubicBezTo>
                      <a:cubicBezTo>
                        <a:pt x="0" y="58"/>
                        <a:pt x="4" y="68"/>
                        <a:pt x="8" y="75"/>
                      </a:cubicBezTo>
                      <a:cubicBezTo>
                        <a:pt x="16" y="87"/>
                        <a:pt x="24" y="95"/>
                        <a:pt x="31" y="106"/>
                      </a:cubicBezTo>
                      <a:cubicBezTo>
                        <a:pt x="39" y="118"/>
                        <a:pt x="45" y="132"/>
                        <a:pt x="45" y="155"/>
                      </a:cubicBezTo>
                      <a:cubicBezTo>
                        <a:pt x="53" y="155"/>
                        <a:pt x="53" y="155"/>
                        <a:pt x="53" y="155"/>
                      </a:cubicBezTo>
                      <a:cubicBezTo>
                        <a:pt x="53" y="124"/>
                        <a:pt x="62" y="108"/>
                        <a:pt x="72" y="95"/>
                      </a:cubicBezTo>
                      <a:cubicBezTo>
                        <a:pt x="78" y="89"/>
                        <a:pt x="84" y="83"/>
                        <a:pt x="88" y="75"/>
                      </a:cubicBezTo>
                      <a:cubicBezTo>
                        <a:pt x="93" y="68"/>
                        <a:pt x="95" y="58"/>
                        <a:pt x="95" y="46"/>
                      </a:cubicBezTo>
                      <a:cubicBezTo>
                        <a:pt x="95" y="35"/>
                        <a:pt x="89" y="23"/>
                        <a:pt x="82" y="13"/>
                      </a:cubicBezTo>
                      <a:close/>
                      <a:moveTo>
                        <a:pt x="49" y="71"/>
                      </a:moveTo>
                      <a:cubicBezTo>
                        <a:pt x="35" y="71"/>
                        <a:pt x="25" y="60"/>
                        <a:pt x="25" y="48"/>
                      </a:cubicBezTo>
                      <a:cubicBezTo>
                        <a:pt x="25" y="37"/>
                        <a:pt x="35" y="27"/>
                        <a:pt x="49" y="27"/>
                      </a:cubicBezTo>
                      <a:cubicBezTo>
                        <a:pt x="60" y="27"/>
                        <a:pt x="70" y="37"/>
                        <a:pt x="70" y="48"/>
                      </a:cubicBezTo>
                      <a:cubicBezTo>
                        <a:pt x="70" y="60"/>
                        <a:pt x="60" y="71"/>
                        <a:pt x="49" y="71"/>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33" name="Freeform 242"/>
                <p:cNvSpPr>
                  <a:spLocks noEditPoints="1"/>
                </p:cNvSpPr>
                <p:nvPr/>
              </p:nvSpPr>
              <p:spPr bwMode="auto">
                <a:xfrm rot="5400000">
                  <a:off x="11571961" y="1163023"/>
                  <a:ext cx="71312" cy="149404"/>
                </a:xfrm>
                <a:custGeom>
                  <a:avLst/>
                  <a:gdLst>
                    <a:gd name="T0" fmla="*/ 24 w 49"/>
                    <a:gd name="T1" fmla="*/ 82 h 99"/>
                    <a:gd name="T2" fmla="*/ 27 w 49"/>
                    <a:gd name="T3" fmla="*/ 83 h 99"/>
                    <a:gd name="T4" fmla="*/ 29 w 49"/>
                    <a:gd name="T5" fmla="*/ 86 h 99"/>
                    <a:gd name="T6" fmla="*/ 31 w 49"/>
                    <a:gd name="T7" fmla="*/ 89 h 99"/>
                    <a:gd name="T8" fmla="*/ 30 w 49"/>
                    <a:gd name="T9" fmla="*/ 93 h 99"/>
                    <a:gd name="T10" fmla="*/ 28 w 49"/>
                    <a:gd name="T11" fmla="*/ 96 h 99"/>
                    <a:gd name="T12" fmla="*/ 25 w 49"/>
                    <a:gd name="T13" fmla="*/ 98 h 99"/>
                    <a:gd name="T14" fmla="*/ 22 w 49"/>
                    <a:gd name="T15" fmla="*/ 99 h 99"/>
                    <a:gd name="T16" fmla="*/ 18 w 49"/>
                    <a:gd name="T17" fmla="*/ 99 h 99"/>
                    <a:gd name="T18" fmla="*/ 15 w 49"/>
                    <a:gd name="T19" fmla="*/ 97 h 99"/>
                    <a:gd name="T20" fmla="*/ 13 w 49"/>
                    <a:gd name="T21" fmla="*/ 94 h 99"/>
                    <a:gd name="T22" fmla="*/ 11 w 49"/>
                    <a:gd name="T23" fmla="*/ 91 h 99"/>
                    <a:gd name="T24" fmla="*/ 12 w 49"/>
                    <a:gd name="T25" fmla="*/ 88 h 99"/>
                    <a:gd name="T26" fmla="*/ 13 w 49"/>
                    <a:gd name="T27" fmla="*/ 85 h 99"/>
                    <a:gd name="T28" fmla="*/ 16 w 49"/>
                    <a:gd name="T29" fmla="*/ 82 h 99"/>
                    <a:gd name="T30" fmla="*/ 20 w 49"/>
                    <a:gd name="T31" fmla="*/ 82 h 99"/>
                    <a:gd name="T32" fmla="*/ 21 w 49"/>
                    <a:gd name="T33" fmla="*/ 82 h 99"/>
                    <a:gd name="T34" fmla="*/ 26 w 49"/>
                    <a:gd name="T35" fmla="*/ 1 h 99"/>
                    <a:gd name="T36" fmla="*/ 31 w 49"/>
                    <a:gd name="T37" fmla="*/ 2 h 99"/>
                    <a:gd name="T38" fmla="*/ 36 w 49"/>
                    <a:gd name="T39" fmla="*/ 3 h 99"/>
                    <a:gd name="T40" fmla="*/ 41 w 49"/>
                    <a:gd name="T41" fmla="*/ 5 h 99"/>
                    <a:gd name="T42" fmla="*/ 44 w 49"/>
                    <a:gd name="T43" fmla="*/ 8 h 99"/>
                    <a:gd name="T44" fmla="*/ 47 w 49"/>
                    <a:gd name="T45" fmla="*/ 12 h 99"/>
                    <a:gd name="T46" fmla="*/ 48 w 49"/>
                    <a:gd name="T47" fmla="*/ 16 h 99"/>
                    <a:gd name="T48" fmla="*/ 49 w 49"/>
                    <a:gd name="T49" fmla="*/ 21 h 99"/>
                    <a:gd name="T50" fmla="*/ 49 w 49"/>
                    <a:gd name="T51" fmla="*/ 26 h 99"/>
                    <a:gd name="T52" fmla="*/ 47 w 49"/>
                    <a:gd name="T53" fmla="*/ 30 h 99"/>
                    <a:gd name="T54" fmla="*/ 46 w 49"/>
                    <a:gd name="T55" fmla="*/ 34 h 99"/>
                    <a:gd name="T56" fmla="*/ 44 w 49"/>
                    <a:gd name="T57" fmla="*/ 38 h 99"/>
                    <a:gd name="T58" fmla="*/ 38 w 49"/>
                    <a:gd name="T59" fmla="*/ 44 h 99"/>
                    <a:gd name="T60" fmla="*/ 33 w 49"/>
                    <a:gd name="T61" fmla="*/ 49 h 99"/>
                    <a:gd name="T62" fmla="*/ 29 w 49"/>
                    <a:gd name="T63" fmla="*/ 52 h 99"/>
                    <a:gd name="T64" fmla="*/ 28 w 49"/>
                    <a:gd name="T65" fmla="*/ 55 h 99"/>
                    <a:gd name="T66" fmla="*/ 26 w 49"/>
                    <a:gd name="T67" fmla="*/ 57 h 99"/>
                    <a:gd name="T68" fmla="*/ 25 w 49"/>
                    <a:gd name="T69" fmla="*/ 61 h 99"/>
                    <a:gd name="T70" fmla="*/ 25 w 49"/>
                    <a:gd name="T71" fmla="*/ 66 h 99"/>
                    <a:gd name="T72" fmla="*/ 27 w 49"/>
                    <a:gd name="T73" fmla="*/ 70 h 99"/>
                    <a:gd name="T74" fmla="*/ 13 w 49"/>
                    <a:gd name="T75" fmla="*/ 70 h 99"/>
                    <a:gd name="T76" fmla="*/ 13 w 49"/>
                    <a:gd name="T77" fmla="*/ 68 h 99"/>
                    <a:gd name="T78" fmla="*/ 12 w 49"/>
                    <a:gd name="T79" fmla="*/ 64 h 99"/>
                    <a:gd name="T80" fmla="*/ 12 w 49"/>
                    <a:gd name="T81" fmla="*/ 59 h 99"/>
                    <a:gd name="T82" fmla="*/ 13 w 49"/>
                    <a:gd name="T83" fmla="*/ 56 h 99"/>
                    <a:gd name="T84" fmla="*/ 16 w 49"/>
                    <a:gd name="T85" fmla="*/ 51 h 99"/>
                    <a:gd name="T86" fmla="*/ 20 w 49"/>
                    <a:gd name="T87" fmla="*/ 45 h 99"/>
                    <a:gd name="T88" fmla="*/ 25 w 49"/>
                    <a:gd name="T89" fmla="*/ 39 h 99"/>
                    <a:gd name="T90" fmla="*/ 31 w 49"/>
                    <a:gd name="T91" fmla="*/ 34 h 99"/>
                    <a:gd name="T92" fmla="*/ 33 w 49"/>
                    <a:gd name="T93" fmla="*/ 30 h 99"/>
                    <a:gd name="T94" fmla="*/ 34 w 49"/>
                    <a:gd name="T95" fmla="*/ 27 h 99"/>
                    <a:gd name="T96" fmla="*/ 34 w 49"/>
                    <a:gd name="T97" fmla="*/ 24 h 99"/>
                    <a:gd name="T98" fmla="*/ 33 w 49"/>
                    <a:gd name="T99" fmla="*/ 21 h 99"/>
                    <a:gd name="T100" fmla="*/ 32 w 49"/>
                    <a:gd name="T101" fmla="*/ 19 h 99"/>
                    <a:gd name="T102" fmla="*/ 30 w 49"/>
                    <a:gd name="T103" fmla="*/ 17 h 99"/>
                    <a:gd name="T104" fmla="*/ 27 w 49"/>
                    <a:gd name="T105" fmla="*/ 15 h 99"/>
                    <a:gd name="T106" fmla="*/ 22 w 49"/>
                    <a:gd name="T107" fmla="*/ 14 h 99"/>
                    <a:gd name="T108" fmla="*/ 16 w 49"/>
                    <a:gd name="T109" fmla="*/ 14 h 99"/>
                    <a:gd name="T110" fmla="*/ 11 w 49"/>
                    <a:gd name="T111" fmla="*/ 14 h 99"/>
                    <a:gd name="T112" fmla="*/ 7 w 49"/>
                    <a:gd name="T113" fmla="*/ 17 h 99"/>
                    <a:gd name="T114" fmla="*/ 2 w 49"/>
                    <a:gd name="T115" fmla="*/ 20 h 99"/>
                    <a:gd name="T116" fmla="*/ 1 w 49"/>
                    <a:gd name="T117" fmla="*/ 6 h 99"/>
                    <a:gd name="T118" fmla="*/ 7 w 49"/>
                    <a:gd name="T119" fmla="*/ 3 h 99"/>
                    <a:gd name="T120" fmla="*/ 13 w 49"/>
                    <a:gd name="T121" fmla="*/ 2 h 99"/>
                    <a:gd name="T122" fmla="*/ 18 w 49"/>
                    <a:gd name="T123" fmla="*/ 1 h 99"/>
                    <a:gd name="T124" fmla="*/ 22 w 49"/>
                    <a:gd name="T12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 h="99">
                      <a:moveTo>
                        <a:pt x="21" y="82"/>
                      </a:moveTo>
                      <a:lnTo>
                        <a:pt x="22" y="82"/>
                      </a:lnTo>
                      <a:lnTo>
                        <a:pt x="23" y="82"/>
                      </a:lnTo>
                      <a:lnTo>
                        <a:pt x="24" y="82"/>
                      </a:lnTo>
                      <a:lnTo>
                        <a:pt x="25" y="82"/>
                      </a:lnTo>
                      <a:lnTo>
                        <a:pt x="25" y="82"/>
                      </a:lnTo>
                      <a:lnTo>
                        <a:pt x="26" y="83"/>
                      </a:lnTo>
                      <a:lnTo>
                        <a:pt x="27" y="83"/>
                      </a:lnTo>
                      <a:lnTo>
                        <a:pt x="28" y="84"/>
                      </a:lnTo>
                      <a:lnTo>
                        <a:pt x="28" y="85"/>
                      </a:lnTo>
                      <a:lnTo>
                        <a:pt x="29" y="85"/>
                      </a:lnTo>
                      <a:lnTo>
                        <a:pt x="29" y="86"/>
                      </a:lnTo>
                      <a:lnTo>
                        <a:pt x="30" y="87"/>
                      </a:lnTo>
                      <a:lnTo>
                        <a:pt x="30" y="88"/>
                      </a:lnTo>
                      <a:lnTo>
                        <a:pt x="30" y="88"/>
                      </a:lnTo>
                      <a:lnTo>
                        <a:pt x="31" y="89"/>
                      </a:lnTo>
                      <a:lnTo>
                        <a:pt x="31" y="91"/>
                      </a:lnTo>
                      <a:lnTo>
                        <a:pt x="31" y="91"/>
                      </a:lnTo>
                      <a:lnTo>
                        <a:pt x="30" y="92"/>
                      </a:lnTo>
                      <a:lnTo>
                        <a:pt x="30" y="93"/>
                      </a:lnTo>
                      <a:lnTo>
                        <a:pt x="30" y="94"/>
                      </a:lnTo>
                      <a:lnTo>
                        <a:pt x="29" y="94"/>
                      </a:lnTo>
                      <a:lnTo>
                        <a:pt x="29" y="95"/>
                      </a:lnTo>
                      <a:lnTo>
                        <a:pt x="28" y="96"/>
                      </a:lnTo>
                      <a:lnTo>
                        <a:pt x="28" y="97"/>
                      </a:lnTo>
                      <a:lnTo>
                        <a:pt x="27" y="97"/>
                      </a:lnTo>
                      <a:lnTo>
                        <a:pt x="26" y="97"/>
                      </a:lnTo>
                      <a:lnTo>
                        <a:pt x="25" y="98"/>
                      </a:lnTo>
                      <a:lnTo>
                        <a:pt x="25" y="99"/>
                      </a:lnTo>
                      <a:lnTo>
                        <a:pt x="24" y="99"/>
                      </a:lnTo>
                      <a:lnTo>
                        <a:pt x="23" y="99"/>
                      </a:lnTo>
                      <a:lnTo>
                        <a:pt x="22" y="99"/>
                      </a:lnTo>
                      <a:lnTo>
                        <a:pt x="21" y="99"/>
                      </a:lnTo>
                      <a:lnTo>
                        <a:pt x="20" y="99"/>
                      </a:lnTo>
                      <a:lnTo>
                        <a:pt x="19" y="99"/>
                      </a:lnTo>
                      <a:lnTo>
                        <a:pt x="18" y="99"/>
                      </a:lnTo>
                      <a:lnTo>
                        <a:pt x="17" y="99"/>
                      </a:lnTo>
                      <a:lnTo>
                        <a:pt x="16" y="98"/>
                      </a:lnTo>
                      <a:lnTo>
                        <a:pt x="16" y="97"/>
                      </a:lnTo>
                      <a:lnTo>
                        <a:pt x="15" y="97"/>
                      </a:lnTo>
                      <a:lnTo>
                        <a:pt x="14" y="97"/>
                      </a:lnTo>
                      <a:lnTo>
                        <a:pt x="13" y="96"/>
                      </a:lnTo>
                      <a:lnTo>
                        <a:pt x="13" y="95"/>
                      </a:lnTo>
                      <a:lnTo>
                        <a:pt x="13" y="94"/>
                      </a:lnTo>
                      <a:lnTo>
                        <a:pt x="12" y="94"/>
                      </a:lnTo>
                      <a:lnTo>
                        <a:pt x="12" y="93"/>
                      </a:lnTo>
                      <a:lnTo>
                        <a:pt x="12" y="92"/>
                      </a:lnTo>
                      <a:lnTo>
                        <a:pt x="11" y="91"/>
                      </a:lnTo>
                      <a:lnTo>
                        <a:pt x="11" y="91"/>
                      </a:lnTo>
                      <a:lnTo>
                        <a:pt x="11" y="89"/>
                      </a:lnTo>
                      <a:lnTo>
                        <a:pt x="12" y="88"/>
                      </a:lnTo>
                      <a:lnTo>
                        <a:pt x="12" y="88"/>
                      </a:lnTo>
                      <a:lnTo>
                        <a:pt x="12" y="87"/>
                      </a:lnTo>
                      <a:lnTo>
                        <a:pt x="13" y="86"/>
                      </a:lnTo>
                      <a:lnTo>
                        <a:pt x="13" y="85"/>
                      </a:lnTo>
                      <a:lnTo>
                        <a:pt x="13" y="85"/>
                      </a:lnTo>
                      <a:lnTo>
                        <a:pt x="14" y="84"/>
                      </a:lnTo>
                      <a:lnTo>
                        <a:pt x="15" y="83"/>
                      </a:lnTo>
                      <a:lnTo>
                        <a:pt x="16" y="83"/>
                      </a:lnTo>
                      <a:lnTo>
                        <a:pt x="16" y="82"/>
                      </a:lnTo>
                      <a:lnTo>
                        <a:pt x="17" y="82"/>
                      </a:lnTo>
                      <a:lnTo>
                        <a:pt x="18" y="82"/>
                      </a:lnTo>
                      <a:lnTo>
                        <a:pt x="19" y="82"/>
                      </a:lnTo>
                      <a:lnTo>
                        <a:pt x="20" y="82"/>
                      </a:lnTo>
                      <a:lnTo>
                        <a:pt x="21" y="82"/>
                      </a:lnTo>
                      <a:lnTo>
                        <a:pt x="21" y="82"/>
                      </a:lnTo>
                      <a:lnTo>
                        <a:pt x="21" y="82"/>
                      </a:lnTo>
                      <a:lnTo>
                        <a:pt x="21" y="82"/>
                      </a:lnTo>
                      <a:close/>
                      <a:moveTo>
                        <a:pt x="22" y="0"/>
                      </a:moveTo>
                      <a:lnTo>
                        <a:pt x="24" y="0"/>
                      </a:lnTo>
                      <a:lnTo>
                        <a:pt x="25" y="1"/>
                      </a:lnTo>
                      <a:lnTo>
                        <a:pt x="26" y="1"/>
                      </a:lnTo>
                      <a:lnTo>
                        <a:pt x="28" y="1"/>
                      </a:lnTo>
                      <a:lnTo>
                        <a:pt x="29" y="1"/>
                      </a:lnTo>
                      <a:lnTo>
                        <a:pt x="30" y="1"/>
                      </a:lnTo>
                      <a:lnTo>
                        <a:pt x="31" y="2"/>
                      </a:lnTo>
                      <a:lnTo>
                        <a:pt x="33" y="2"/>
                      </a:lnTo>
                      <a:lnTo>
                        <a:pt x="34" y="2"/>
                      </a:lnTo>
                      <a:lnTo>
                        <a:pt x="35" y="2"/>
                      </a:lnTo>
                      <a:lnTo>
                        <a:pt x="36" y="3"/>
                      </a:lnTo>
                      <a:lnTo>
                        <a:pt x="38" y="4"/>
                      </a:lnTo>
                      <a:lnTo>
                        <a:pt x="38" y="4"/>
                      </a:lnTo>
                      <a:lnTo>
                        <a:pt x="39" y="5"/>
                      </a:lnTo>
                      <a:lnTo>
                        <a:pt x="41" y="5"/>
                      </a:lnTo>
                      <a:lnTo>
                        <a:pt x="41" y="6"/>
                      </a:lnTo>
                      <a:lnTo>
                        <a:pt x="42" y="7"/>
                      </a:lnTo>
                      <a:lnTo>
                        <a:pt x="43" y="8"/>
                      </a:lnTo>
                      <a:lnTo>
                        <a:pt x="44" y="8"/>
                      </a:lnTo>
                      <a:lnTo>
                        <a:pt x="44" y="9"/>
                      </a:lnTo>
                      <a:lnTo>
                        <a:pt x="45" y="10"/>
                      </a:lnTo>
                      <a:lnTo>
                        <a:pt x="46" y="11"/>
                      </a:lnTo>
                      <a:lnTo>
                        <a:pt x="47" y="12"/>
                      </a:lnTo>
                      <a:lnTo>
                        <a:pt x="47" y="13"/>
                      </a:lnTo>
                      <a:lnTo>
                        <a:pt x="47" y="14"/>
                      </a:lnTo>
                      <a:lnTo>
                        <a:pt x="48" y="15"/>
                      </a:lnTo>
                      <a:lnTo>
                        <a:pt x="48" y="16"/>
                      </a:lnTo>
                      <a:lnTo>
                        <a:pt x="48" y="17"/>
                      </a:lnTo>
                      <a:lnTo>
                        <a:pt x="49" y="18"/>
                      </a:lnTo>
                      <a:lnTo>
                        <a:pt x="49" y="20"/>
                      </a:lnTo>
                      <a:lnTo>
                        <a:pt x="49" y="21"/>
                      </a:lnTo>
                      <a:lnTo>
                        <a:pt x="49" y="22"/>
                      </a:lnTo>
                      <a:lnTo>
                        <a:pt x="49" y="23"/>
                      </a:lnTo>
                      <a:lnTo>
                        <a:pt x="49" y="25"/>
                      </a:lnTo>
                      <a:lnTo>
                        <a:pt x="49" y="26"/>
                      </a:lnTo>
                      <a:lnTo>
                        <a:pt x="49" y="27"/>
                      </a:lnTo>
                      <a:lnTo>
                        <a:pt x="48" y="28"/>
                      </a:lnTo>
                      <a:lnTo>
                        <a:pt x="48" y="30"/>
                      </a:lnTo>
                      <a:lnTo>
                        <a:pt x="47" y="30"/>
                      </a:lnTo>
                      <a:lnTo>
                        <a:pt x="47" y="32"/>
                      </a:lnTo>
                      <a:lnTo>
                        <a:pt x="47" y="33"/>
                      </a:lnTo>
                      <a:lnTo>
                        <a:pt x="47" y="33"/>
                      </a:lnTo>
                      <a:lnTo>
                        <a:pt x="46" y="34"/>
                      </a:lnTo>
                      <a:lnTo>
                        <a:pt x="45" y="36"/>
                      </a:lnTo>
                      <a:lnTo>
                        <a:pt x="44" y="36"/>
                      </a:lnTo>
                      <a:lnTo>
                        <a:pt x="44" y="37"/>
                      </a:lnTo>
                      <a:lnTo>
                        <a:pt x="44" y="38"/>
                      </a:lnTo>
                      <a:lnTo>
                        <a:pt x="43" y="39"/>
                      </a:lnTo>
                      <a:lnTo>
                        <a:pt x="41" y="41"/>
                      </a:lnTo>
                      <a:lnTo>
                        <a:pt x="40" y="42"/>
                      </a:lnTo>
                      <a:lnTo>
                        <a:pt x="38" y="44"/>
                      </a:lnTo>
                      <a:lnTo>
                        <a:pt x="37" y="45"/>
                      </a:lnTo>
                      <a:lnTo>
                        <a:pt x="35" y="46"/>
                      </a:lnTo>
                      <a:lnTo>
                        <a:pt x="34" y="48"/>
                      </a:lnTo>
                      <a:lnTo>
                        <a:pt x="33" y="49"/>
                      </a:lnTo>
                      <a:lnTo>
                        <a:pt x="31" y="50"/>
                      </a:lnTo>
                      <a:lnTo>
                        <a:pt x="31" y="51"/>
                      </a:lnTo>
                      <a:lnTo>
                        <a:pt x="30" y="51"/>
                      </a:lnTo>
                      <a:lnTo>
                        <a:pt x="29" y="52"/>
                      </a:lnTo>
                      <a:lnTo>
                        <a:pt x="29" y="53"/>
                      </a:lnTo>
                      <a:lnTo>
                        <a:pt x="28" y="54"/>
                      </a:lnTo>
                      <a:lnTo>
                        <a:pt x="28" y="54"/>
                      </a:lnTo>
                      <a:lnTo>
                        <a:pt x="28" y="55"/>
                      </a:lnTo>
                      <a:lnTo>
                        <a:pt x="27" y="55"/>
                      </a:lnTo>
                      <a:lnTo>
                        <a:pt x="27" y="56"/>
                      </a:lnTo>
                      <a:lnTo>
                        <a:pt x="26" y="57"/>
                      </a:lnTo>
                      <a:lnTo>
                        <a:pt x="26" y="57"/>
                      </a:lnTo>
                      <a:lnTo>
                        <a:pt x="25" y="58"/>
                      </a:lnTo>
                      <a:lnTo>
                        <a:pt x="25" y="59"/>
                      </a:lnTo>
                      <a:lnTo>
                        <a:pt x="25" y="60"/>
                      </a:lnTo>
                      <a:lnTo>
                        <a:pt x="25" y="61"/>
                      </a:lnTo>
                      <a:lnTo>
                        <a:pt x="25" y="62"/>
                      </a:lnTo>
                      <a:lnTo>
                        <a:pt x="25" y="63"/>
                      </a:lnTo>
                      <a:lnTo>
                        <a:pt x="25" y="64"/>
                      </a:lnTo>
                      <a:lnTo>
                        <a:pt x="25" y="66"/>
                      </a:lnTo>
                      <a:lnTo>
                        <a:pt x="26" y="67"/>
                      </a:lnTo>
                      <a:lnTo>
                        <a:pt x="26" y="68"/>
                      </a:lnTo>
                      <a:lnTo>
                        <a:pt x="27" y="69"/>
                      </a:lnTo>
                      <a:lnTo>
                        <a:pt x="27" y="70"/>
                      </a:lnTo>
                      <a:lnTo>
                        <a:pt x="28" y="71"/>
                      </a:lnTo>
                      <a:lnTo>
                        <a:pt x="13" y="71"/>
                      </a:lnTo>
                      <a:lnTo>
                        <a:pt x="13" y="70"/>
                      </a:lnTo>
                      <a:lnTo>
                        <a:pt x="13" y="70"/>
                      </a:lnTo>
                      <a:lnTo>
                        <a:pt x="13" y="69"/>
                      </a:lnTo>
                      <a:lnTo>
                        <a:pt x="13" y="69"/>
                      </a:lnTo>
                      <a:lnTo>
                        <a:pt x="13" y="69"/>
                      </a:lnTo>
                      <a:lnTo>
                        <a:pt x="13" y="68"/>
                      </a:lnTo>
                      <a:lnTo>
                        <a:pt x="13" y="67"/>
                      </a:lnTo>
                      <a:lnTo>
                        <a:pt x="13" y="66"/>
                      </a:lnTo>
                      <a:lnTo>
                        <a:pt x="12" y="65"/>
                      </a:lnTo>
                      <a:lnTo>
                        <a:pt x="12" y="64"/>
                      </a:lnTo>
                      <a:lnTo>
                        <a:pt x="12" y="63"/>
                      </a:lnTo>
                      <a:lnTo>
                        <a:pt x="12" y="61"/>
                      </a:lnTo>
                      <a:lnTo>
                        <a:pt x="12" y="60"/>
                      </a:lnTo>
                      <a:lnTo>
                        <a:pt x="12" y="59"/>
                      </a:lnTo>
                      <a:lnTo>
                        <a:pt x="12" y="58"/>
                      </a:lnTo>
                      <a:lnTo>
                        <a:pt x="13" y="57"/>
                      </a:lnTo>
                      <a:lnTo>
                        <a:pt x="13" y="57"/>
                      </a:lnTo>
                      <a:lnTo>
                        <a:pt x="13" y="56"/>
                      </a:lnTo>
                      <a:lnTo>
                        <a:pt x="13" y="54"/>
                      </a:lnTo>
                      <a:lnTo>
                        <a:pt x="13" y="54"/>
                      </a:lnTo>
                      <a:lnTo>
                        <a:pt x="14" y="52"/>
                      </a:lnTo>
                      <a:lnTo>
                        <a:pt x="16" y="51"/>
                      </a:lnTo>
                      <a:lnTo>
                        <a:pt x="16" y="49"/>
                      </a:lnTo>
                      <a:lnTo>
                        <a:pt x="18" y="48"/>
                      </a:lnTo>
                      <a:lnTo>
                        <a:pt x="19" y="46"/>
                      </a:lnTo>
                      <a:lnTo>
                        <a:pt x="20" y="45"/>
                      </a:lnTo>
                      <a:lnTo>
                        <a:pt x="22" y="43"/>
                      </a:lnTo>
                      <a:lnTo>
                        <a:pt x="23" y="42"/>
                      </a:lnTo>
                      <a:lnTo>
                        <a:pt x="24" y="41"/>
                      </a:lnTo>
                      <a:lnTo>
                        <a:pt x="25" y="39"/>
                      </a:lnTo>
                      <a:lnTo>
                        <a:pt x="27" y="38"/>
                      </a:lnTo>
                      <a:lnTo>
                        <a:pt x="28" y="37"/>
                      </a:lnTo>
                      <a:lnTo>
                        <a:pt x="29" y="36"/>
                      </a:lnTo>
                      <a:lnTo>
                        <a:pt x="31" y="34"/>
                      </a:lnTo>
                      <a:lnTo>
                        <a:pt x="31" y="33"/>
                      </a:lnTo>
                      <a:lnTo>
                        <a:pt x="32" y="32"/>
                      </a:lnTo>
                      <a:lnTo>
                        <a:pt x="33" y="31"/>
                      </a:lnTo>
                      <a:lnTo>
                        <a:pt x="33" y="30"/>
                      </a:lnTo>
                      <a:lnTo>
                        <a:pt x="33" y="30"/>
                      </a:lnTo>
                      <a:lnTo>
                        <a:pt x="34" y="29"/>
                      </a:lnTo>
                      <a:lnTo>
                        <a:pt x="34" y="28"/>
                      </a:lnTo>
                      <a:lnTo>
                        <a:pt x="34" y="27"/>
                      </a:lnTo>
                      <a:lnTo>
                        <a:pt x="34" y="27"/>
                      </a:lnTo>
                      <a:lnTo>
                        <a:pt x="34" y="26"/>
                      </a:lnTo>
                      <a:lnTo>
                        <a:pt x="34" y="25"/>
                      </a:lnTo>
                      <a:lnTo>
                        <a:pt x="34" y="24"/>
                      </a:lnTo>
                      <a:lnTo>
                        <a:pt x="34" y="23"/>
                      </a:lnTo>
                      <a:lnTo>
                        <a:pt x="34" y="23"/>
                      </a:lnTo>
                      <a:lnTo>
                        <a:pt x="34" y="22"/>
                      </a:lnTo>
                      <a:lnTo>
                        <a:pt x="33" y="21"/>
                      </a:lnTo>
                      <a:lnTo>
                        <a:pt x="33" y="20"/>
                      </a:lnTo>
                      <a:lnTo>
                        <a:pt x="33" y="20"/>
                      </a:lnTo>
                      <a:lnTo>
                        <a:pt x="32" y="20"/>
                      </a:lnTo>
                      <a:lnTo>
                        <a:pt x="32" y="19"/>
                      </a:lnTo>
                      <a:lnTo>
                        <a:pt x="31" y="18"/>
                      </a:lnTo>
                      <a:lnTo>
                        <a:pt x="31" y="18"/>
                      </a:lnTo>
                      <a:lnTo>
                        <a:pt x="31" y="17"/>
                      </a:lnTo>
                      <a:lnTo>
                        <a:pt x="30" y="17"/>
                      </a:lnTo>
                      <a:lnTo>
                        <a:pt x="30" y="17"/>
                      </a:lnTo>
                      <a:lnTo>
                        <a:pt x="29" y="17"/>
                      </a:lnTo>
                      <a:lnTo>
                        <a:pt x="28" y="16"/>
                      </a:lnTo>
                      <a:lnTo>
                        <a:pt x="27" y="15"/>
                      </a:lnTo>
                      <a:lnTo>
                        <a:pt x="26" y="14"/>
                      </a:lnTo>
                      <a:lnTo>
                        <a:pt x="25" y="14"/>
                      </a:lnTo>
                      <a:lnTo>
                        <a:pt x="23" y="14"/>
                      </a:lnTo>
                      <a:lnTo>
                        <a:pt x="22" y="14"/>
                      </a:lnTo>
                      <a:lnTo>
                        <a:pt x="20" y="14"/>
                      </a:lnTo>
                      <a:lnTo>
                        <a:pt x="19" y="14"/>
                      </a:lnTo>
                      <a:lnTo>
                        <a:pt x="17" y="14"/>
                      </a:lnTo>
                      <a:lnTo>
                        <a:pt x="16" y="14"/>
                      </a:lnTo>
                      <a:lnTo>
                        <a:pt x="15" y="14"/>
                      </a:lnTo>
                      <a:lnTo>
                        <a:pt x="14" y="14"/>
                      </a:lnTo>
                      <a:lnTo>
                        <a:pt x="13" y="14"/>
                      </a:lnTo>
                      <a:lnTo>
                        <a:pt x="11" y="14"/>
                      </a:lnTo>
                      <a:lnTo>
                        <a:pt x="10" y="15"/>
                      </a:lnTo>
                      <a:lnTo>
                        <a:pt x="9" y="16"/>
                      </a:lnTo>
                      <a:lnTo>
                        <a:pt x="8" y="16"/>
                      </a:lnTo>
                      <a:lnTo>
                        <a:pt x="7" y="17"/>
                      </a:lnTo>
                      <a:lnTo>
                        <a:pt x="5" y="17"/>
                      </a:lnTo>
                      <a:lnTo>
                        <a:pt x="4" y="18"/>
                      </a:lnTo>
                      <a:lnTo>
                        <a:pt x="3" y="19"/>
                      </a:lnTo>
                      <a:lnTo>
                        <a:pt x="2" y="20"/>
                      </a:lnTo>
                      <a:lnTo>
                        <a:pt x="1" y="21"/>
                      </a:lnTo>
                      <a:lnTo>
                        <a:pt x="0" y="22"/>
                      </a:lnTo>
                      <a:lnTo>
                        <a:pt x="0" y="7"/>
                      </a:lnTo>
                      <a:lnTo>
                        <a:pt x="1" y="6"/>
                      </a:lnTo>
                      <a:lnTo>
                        <a:pt x="3" y="5"/>
                      </a:lnTo>
                      <a:lnTo>
                        <a:pt x="4" y="5"/>
                      </a:lnTo>
                      <a:lnTo>
                        <a:pt x="5" y="4"/>
                      </a:lnTo>
                      <a:lnTo>
                        <a:pt x="7" y="3"/>
                      </a:lnTo>
                      <a:lnTo>
                        <a:pt x="8" y="3"/>
                      </a:lnTo>
                      <a:lnTo>
                        <a:pt x="10" y="2"/>
                      </a:lnTo>
                      <a:lnTo>
                        <a:pt x="11" y="2"/>
                      </a:lnTo>
                      <a:lnTo>
                        <a:pt x="13" y="2"/>
                      </a:lnTo>
                      <a:lnTo>
                        <a:pt x="13" y="2"/>
                      </a:lnTo>
                      <a:lnTo>
                        <a:pt x="15" y="1"/>
                      </a:lnTo>
                      <a:lnTo>
                        <a:pt x="16" y="1"/>
                      </a:lnTo>
                      <a:lnTo>
                        <a:pt x="18" y="1"/>
                      </a:lnTo>
                      <a:lnTo>
                        <a:pt x="19" y="1"/>
                      </a:lnTo>
                      <a:lnTo>
                        <a:pt x="21" y="0"/>
                      </a:lnTo>
                      <a:lnTo>
                        <a:pt x="22" y="0"/>
                      </a:lnTo>
                      <a:lnTo>
                        <a:pt x="22" y="0"/>
                      </a:lnTo>
                      <a:lnTo>
                        <a:pt x="22" y="0"/>
                      </a:lnTo>
                      <a:lnTo>
                        <a:pt x="22"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34" name="Freeform 243"/>
                <p:cNvSpPr>
                  <a:spLocks/>
                </p:cNvSpPr>
                <p:nvPr/>
              </p:nvSpPr>
              <p:spPr bwMode="auto">
                <a:xfrm rot="5400000">
                  <a:off x="10645137" y="844463"/>
                  <a:ext cx="18920" cy="18110"/>
                </a:xfrm>
                <a:custGeom>
                  <a:avLst/>
                  <a:gdLst>
                    <a:gd name="T0" fmla="*/ 9 w 17"/>
                    <a:gd name="T1" fmla="*/ 16 h 16"/>
                    <a:gd name="T2" fmla="*/ 0 w 17"/>
                    <a:gd name="T3" fmla="*/ 8 h 16"/>
                    <a:gd name="T4" fmla="*/ 8 w 17"/>
                    <a:gd name="T5" fmla="*/ 0 h 16"/>
                    <a:gd name="T6" fmla="*/ 17 w 17"/>
                    <a:gd name="T7" fmla="*/ 8 h 16"/>
                    <a:gd name="T8" fmla="*/ 9 w 17"/>
                    <a:gd name="T9" fmla="*/ 16 h 16"/>
                  </a:gdLst>
                  <a:ahLst/>
                  <a:cxnLst>
                    <a:cxn ang="0">
                      <a:pos x="T0" y="T1"/>
                    </a:cxn>
                    <a:cxn ang="0">
                      <a:pos x="T2" y="T3"/>
                    </a:cxn>
                    <a:cxn ang="0">
                      <a:pos x="T4" y="T5"/>
                    </a:cxn>
                    <a:cxn ang="0">
                      <a:pos x="T6" y="T7"/>
                    </a:cxn>
                    <a:cxn ang="0">
                      <a:pos x="T8" y="T9"/>
                    </a:cxn>
                  </a:cxnLst>
                  <a:rect l="0" t="0" r="r" b="b"/>
                  <a:pathLst>
                    <a:path w="17" h="16">
                      <a:moveTo>
                        <a:pt x="9" y="16"/>
                      </a:moveTo>
                      <a:cubicBezTo>
                        <a:pt x="5" y="16"/>
                        <a:pt x="1" y="12"/>
                        <a:pt x="0" y="8"/>
                      </a:cubicBezTo>
                      <a:cubicBezTo>
                        <a:pt x="0" y="4"/>
                        <a:pt x="3" y="0"/>
                        <a:pt x="8" y="0"/>
                      </a:cubicBezTo>
                      <a:cubicBezTo>
                        <a:pt x="13" y="0"/>
                        <a:pt x="17" y="3"/>
                        <a:pt x="17" y="8"/>
                      </a:cubicBezTo>
                      <a:cubicBezTo>
                        <a:pt x="17" y="12"/>
                        <a:pt x="14" y="16"/>
                        <a:pt x="9" y="16"/>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35" name="Freeform 244"/>
                <p:cNvSpPr>
                  <a:spLocks/>
                </p:cNvSpPr>
                <p:nvPr/>
              </p:nvSpPr>
              <p:spPr bwMode="auto">
                <a:xfrm rot="5400000">
                  <a:off x="10647723" y="843441"/>
                  <a:ext cx="77133" cy="75457"/>
                </a:xfrm>
                <a:custGeom>
                  <a:avLst/>
                  <a:gdLst>
                    <a:gd name="T0" fmla="*/ 70 w 70"/>
                    <a:gd name="T1" fmla="*/ 64 h 67"/>
                    <a:gd name="T2" fmla="*/ 37 w 70"/>
                    <a:gd name="T3" fmla="*/ 8 h 67"/>
                    <a:gd name="T4" fmla="*/ 1 w 70"/>
                    <a:gd name="T5" fmla="*/ 1 h 67"/>
                    <a:gd name="T6" fmla="*/ 0 w 70"/>
                    <a:gd name="T7" fmla="*/ 2 h 67"/>
                    <a:gd name="T8" fmla="*/ 0 w 70"/>
                    <a:gd name="T9" fmla="*/ 11 h 67"/>
                    <a:gd name="T10" fmla="*/ 1 w 70"/>
                    <a:gd name="T11" fmla="*/ 12 h 67"/>
                    <a:gd name="T12" fmla="*/ 31 w 70"/>
                    <a:gd name="T13" fmla="*/ 19 h 67"/>
                    <a:gd name="T14" fmla="*/ 59 w 70"/>
                    <a:gd name="T15" fmla="*/ 66 h 67"/>
                    <a:gd name="T16" fmla="*/ 60 w 70"/>
                    <a:gd name="T17" fmla="*/ 67 h 67"/>
                    <a:gd name="T18" fmla="*/ 69 w 70"/>
                    <a:gd name="T19" fmla="*/ 66 h 67"/>
                    <a:gd name="T20" fmla="*/ 70 w 70"/>
                    <a:gd name="T21" fmla="*/ 6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67">
                      <a:moveTo>
                        <a:pt x="70" y="64"/>
                      </a:moveTo>
                      <a:cubicBezTo>
                        <a:pt x="69" y="33"/>
                        <a:pt x="53" y="16"/>
                        <a:pt x="37" y="8"/>
                      </a:cubicBezTo>
                      <a:cubicBezTo>
                        <a:pt x="21" y="0"/>
                        <a:pt x="5" y="1"/>
                        <a:pt x="1" y="1"/>
                      </a:cubicBezTo>
                      <a:cubicBezTo>
                        <a:pt x="0" y="1"/>
                        <a:pt x="0" y="1"/>
                        <a:pt x="0" y="2"/>
                      </a:cubicBezTo>
                      <a:cubicBezTo>
                        <a:pt x="0" y="3"/>
                        <a:pt x="0" y="10"/>
                        <a:pt x="0" y="11"/>
                      </a:cubicBezTo>
                      <a:cubicBezTo>
                        <a:pt x="0" y="12"/>
                        <a:pt x="0" y="12"/>
                        <a:pt x="1" y="12"/>
                      </a:cubicBezTo>
                      <a:cubicBezTo>
                        <a:pt x="5" y="11"/>
                        <a:pt x="18" y="12"/>
                        <a:pt x="31" y="19"/>
                      </a:cubicBezTo>
                      <a:cubicBezTo>
                        <a:pt x="44" y="26"/>
                        <a:pt x="57" y="41"/>
                        <a:pt x="59" y="66"/>
                      </a:cubicBezTo>
                      <a:cubicBezTo>
                        <a:pt x="59" y="66"/>
                        <a:pt x="59" y="67"/>
                        <a:pt x="60" y="67"/>
                      </a:cubicBezTo>
                      <a:cubicBezTo>
                        <a:pt x="60" y="67"/>
                        <a:pt x="68" y="66"/>
                        <a:pt x="69" y="66"/>
                      </a:cubicBezTo>
                      <a:cubicBezTo>
                        <a:pt x="70" y="66"/>
                        <a:pt x="70" y="66"/>
                        <a:pt x="70" y="64"/>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36" name="Freeform 245"/>
                <p:cNvSpPr>
                  <a:spLocks/>
                </p:cNvSpPr>
                <p:nvPr/>
              </p:nvSpPr>
              <p:spPr bwMode="auto">
                <a:xfrm rot="5400000">
                  <a:off x="10644948" y="843198"/>
                  <a:ext cx="49481" cy="48292"/>
                </a:xfrm>
                <a:custGeom>
                  <a:avLst/>
                  <a:gdLst>
                    <a:gd name="T0" fmla="*/ 45 w 45"/>
                    <a:gd name="T1" fmla="*/ 40 h 42"/>
                    <a:gd name="T2" fmla="*/ 1 w 45"/>
                    <a:gd name="T3" fmla="*/ 0 h 42"/>
                    <a:gd name="T4" fmla="*/ 0 w 45"/>
                    <a:gd name="T5" fmla="*/ 1 h 42"/>
                    <a:gd name="T6" fmla="*/ 0 w 45"/>
                    <a:gd name="T7" fmla="*/ 10 h 42"/>
                    <a:gd name="T8" fmla="*/ 1 w 45"/>
                    <a:gd name="T9" fmla="*/ 12 h 42"/>
                    <a:gd name="T10" fmla="*/ 32 w 45"/>
                    <a:gd name="T11" fmla="*/ 40 h 42"/>
                    <a:gd name="T12" fmla="*/ 34 w 45"/>
                    <a:gd name="T13" fmla="*/ 42 h 42"/>
                    <a:gd name="T14" fmla="*/ 43 w 45"/>
                    <a:gd name="T15" fmla="*/ 41 h 42"/>
                    <a:gd name="T16" fmla="*/ 45 w 45"/>
                    <a:gd name="T17"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2">
                      <a:moveTo>
                        <a:pt x="45" y="40"/>
                      </a:moveTo>
                      <a:cubicBezTo>
                        <a:pt x="42" y="9"/>
                        <a:pt x="16" y="0"/>
                        <a:pt x="1" y="0"/>
                      </a:cubicBezTo>
                      <a:cubicBezTo>
                        <a:pt x="0" y="0"/>
                        <a:pt x="0" y="0"/>
                        <a:pt x="0" y="1"/>
                      </a:cubicBezTo>
                      <a:cubicBezTo>
                        <a:pt x="0" y="1"/>
                        <a:pt x="0" y="10"/>
                        <a:pt x="0" y="10"/>
                      </a:cubicBezTo>
                      <a:cubicBezTo>
                        <a:pt x="0" y="11"/>
                        <a:pt x="0" y="12"/>
                        <a:pt x="1" y="12"/>
                      </a:cubicBezTo>
                      <a:cubicBezTo>
                        <a:pt x="9" y="12"/>
                        <a:pt x="29" y="16"/>
                        <a:pt x="32" y="40"/>
                      </a:cubicBezTo>
                      <a:cubicBezTo>
                        <a:pt x="33" y="41"/>
                        <a:pt x="33" y="42"/>
                        <a:pt x="34" y="42"/>
                      </a:cubicBezTo>
                      <a:cubicBezTo>
                        <a:pt x="34" y="42"/>
                        <a:pt x="43" y="41"/>
                        <a:pt x="43" y="41"/>
                      </a:cubicBezTo>
                      <a:cubicBezTo>
                        <a:pt x="44" y="41"/>
                        <a:pt x="45" y="41"/>
                        <a:pt x="45" y="4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37" name="Group 636"/>
                <p:cNvGrpSpPr/>
                <p:nvPr/>
              </p:nvGrpSpPr>
              <p:grpSpPr>
                <a:xfrm rot="16200000">
                  <a:off x="10518775" y="1654678"/>
                  <a:ext cx="90548" cy="88776"/>
                  <a:chOff x="10518775" y="1654678"/>
                  <a:chExt cx="90548" cy="88776"/>
                </a:xfrm>
              </p:grpSpPr>
              <p:sp>
                <p:nvSpPr>
                  <p:cNvPr id="648" name="Freeform 249"/>
                  <p:cNvSpPr>
                    <a:spLocks/>
                  </p:cNvSpPr>
                  <p:nvPr/>
                </p:nvSpPr>
                <p:spPr bwMode="auto">
                  <a:xfrm rot="5400000">
                    <a:off x="10519906" y="1656458"/>
                    <a:ext cx="20375" cy="22637"/>
                  </a:xfrm>
                  <a:custGeom>
                    <a:avLst/>
                    <a:gdLst>
                      <a:gd name="T0" fmla="*/ 10 w 19"/>
                      <a:gd name="T1" fmla="*/ 19 h 19"/>
                      <a:gd name="T2" fmla="*/ 0 w 19"/>
                      <a:gd name="T3" fmla="*/ 9 h 19"/>
                      <a:gd name="T4" fmla="*/ 9 w 19"/>
                      <a:gd name="T5" fmla="*/ 0 h 19"/>
                      <a:gd name="T6" fmla="*/ 19 w 19"/>
                      <a:gd name="T7" fmla="*/ 9 h 19"/>
                      <a:gd name="T8" fmla="*/ 10 w 19"/>
                      <a:gd name="T9" fmla="*/ 19 h 19"/>
                    </a:gdLst>
                    <a:ahLst/>
                    <a:cxnLst>
                      <a:cxn ang="0">
                        <a:pos x="T0" y="T1"/>
                      </a:cxn>
                      <a:cxn ang="0">
                        <a:pos x="T2" y="T3"/>
                      </a:cxn>
                      <a:cxn ang="0">
                        <a:pos x="T4" y="T5"/>
                      </a:cxn>
                      <a:cxn ang="0">
                        <a:pos x="T6" y="T7"/>
                      </a:cxn>
                      <a:cxn ang="0">
                        <a:pos x="T8" y="T9"/>
                      </a:cxn>
                    </a:cxnLst>
                    <a:rect l="0" t="0" r="r" b="b"/>
                    <a:pathLst>
                      <a:path w="19" h="19">
                        <a:moveTo>
                          <a:pt x="10" y="19"/>
                        </a:moveTo>
                        <a:cubicBezTo>
                          <a:pt x="5" y="19"/>
                          <a:pt x="0" y="15"/>
                          <a:pt x="0" y="9"/>
                        </a:cubicBezTo>
                        <a:cubicBezTo>
                          <a:pt x="0" y="4"/>
                          <a:pt x="3" y="0"/>
                          <a:pt x="9" y="0"/>
                        </a:cubicBezTo>
                        <a:cubicBezTo>
                          <a:pt x="14" y="0"/>
                          <a:pt x="19" y="4"/>
                          <a:pt x="19" y="9"/>
                        </a:cubicBezTo>
                        <a:cubicBezTo>
                          <a:pt x="19" y="15"/>
                          <a:pt x="15" y="19"/>
                          <a:pt x="10" y="19"/>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49" name="Freeform 250"/>
                  <p:cNvSpPr>
                    <a:spLocks/>
                  </p:cNvSpPr>
                  <p:nvPr/>
                </p:nvSpPr>
                <p:spPr bwMode="auto">
                  <a:xfrm rot="5400000">
                    <a:off x="10521925" y="1656056"/>
                    <a:ext cx="88776" cy="86020"/>
                  </a:xfrm>
                  <a:custGeom>
                    <a:avLst/>
                    <a:gdLst>
                      <a:gd name="T0" fmla="*/ 81 w 81"/>
                      <a:gd name="T1" fmla="*/ 73 h 76"/>
                      <a:gd name="T2" fmla="*/ 43 w 81"/>
                      <a:gd name="T3" fmla="*/ 9 h 76"/>
                      <a:gd name="T4" fmla="*/ 1 w 81"/>
                      <a:gd name="T5" fmla="*/ 0 h 76"/>
                      <a:gd name="T6" fmla="*/ 0 w 81"/>
                      <a:gd name="T7" fmla="*/ 2 h 76"/>
                      <a:gd name="T8" fmla="*/ 0 w 81"/>
                      <a:gd name="T9" fmla="*/ 11 h 76"/>
                      <a:gd name="T10" fmla="*/ 1 w 81"/>
                      <a:gd name="T11" fmla="*/ 13 h 76"/>
                      <a:gd name="T12" fmla="*/ 36 w 81"/>
                      <a:gd name="T13" fmla="*/ 21 h 76"/>
                      <a:gd name="T14" fmla="*/ 68 w 81"/>
                      <a:gd name="T15" fmla="*/ 75 h 76"/>
                      <a:gd name="T16" fmla="*/ 69 w 81"/>
                      <a:gd name="T17" fmla="*/ 76 h 76"/>
                      <a:gd name="T18" fmla="*/ 80 w 81"/>
                      <a:gd name="T19" fmla="*/ 75 h 76"/>
                      <a:gd name="T20" fmla="*/ 81 w 81"/>
                      <a:gd name="T21"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76">
                        <a:moveTo>
                          <a:pt x="81" y="73"/>
                        </a:moveTo>
                        <a:cubicBezTo>
                          <a:pt x="80" y="38"/>
                          <a:pt x="61" y="18"/>
                          <a:pt x="43" y="9"/>
                        </a:cubicBezTo>
                        <a:cubicBezTo>
                          <a:pt x="24" y="0"/>
                          <a:pt x="6" y="0"/>
                          <a:pt x="1" y="0"/>
                        </a:cubicBezTo>
                        <a:cubicBezTo>
                          <a:pt x="1" y="0"/>
                          <a:pt x="0" y="1"/>
                          <a:pt x="0" y="2"/>
                        </a:cubicBezTo>
                        <a:cubicBezTo>
                          <a:pt x="0" y="2"/>
                          <a:pt x="0" y="11"/>
                          <a:pt x="0" y="11"/>
                        </a:cubicBezTo>
                        <a:cubicBezTo>
                          <a:pt x="0" y="13"/>
                          <a:pt x="0" y="13"/>
                          <a:pt x="1" y="13"/>
                        </a:cubicBezTo>
                        <a:cubicBezTo>
                          <a:pt x="6" y="12"/>
                          <a:pt x="21" y="13"/>
                          <a:pt x="36" y="21"/>
                        </a:cubicBezTo>
                        <a:cubicBezTo>
                          <a:pt x="52" y="30"/>
                          <a:pt x="67" y="46"/>
                          <a:pt x="68" y="75"/>
                        </a:cubicBezTo>
                        <a:cubicBezTo>
                          <a:pt x="68" y="76"/>
                          <a:pt x="68" y="76"/>
                          <a:pt x="69" y="76"/>
                        </a:cubicBezTo>
                        <a:cubicBezTo>
                          <a:pt x="70" y="76"/>
                          <a:pt x="79" y="75"/>
                          <a:pt x="80" y="75"/>
                        </a:cubicBezTo>
                        <a:cubicBezTo>
                          <a:pt x="81" y="75"/>
                          <a:pt x="81" y="75"/>
                          <a:pt x="81" y="73"/>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0" name="Freeform 251"/>
                  <p:cNvSpPr>
                    <a:spLocks/>
                  </p:cNvSpPr>
                  <p:nvPr/>
                </p:nvSpPr>
                <p:spPr bwMode="auto">
                  <a:xfrm rot="5400000">
                    <a:off x="10518315" y="1655139"/>
                    <a:ext cx="56758" cy="55838"/>
                  </a:xfrm>
                  <a:custGeom>
                    <a:avLst/>
                    <a:gdLst>
                      <a:gd name="T0" fmla="*/ 52 w 52"/>
                      <a:gd name="T1" fmla="*/ 46 h 49"/>
                      <a:gd name="T2" fmla="*/ 1 w 52"/>
                      <a:gd name="T3" fmla="*/ 0 h 49"/>
                      <a:gd name="T4" fmla="*/ 0 w 52"/>
                      <a:gd name="T5" fmla="*/ 1 h 49"/>
                      <a:gd name="T6" fmla="*/ 0 w 52"/>
                      <a:gd name="T7" fmla="*/ 12 h 49"/>
                      <a:gd name="T8" fmla="*/ 1 w 52"/>
                      <a:gd name="T9" fmla="*/ 14 h 49"/>
                      <a:gd name="T10" fmla="*/ 38 w 52"/>
                      <a:gd name="T11" fmla="*/ 47 h 49"/>
                      <a:gd name="T12" fmla="*/ 40 w 52"/>
                      <a:gd name="T13" fmla="*/ 49 h 49"/>
                      <a:gd name="T14" fmla="*/ 50 w 52"/>
                      <a:gd name="T15" fmla="*/ 48 h 49"/>
                      <a:gd name="T16" fmla="*/ 52 w 52"/>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9">
                        <a:moveTo>
                          <a:pt x="52" y="46"/>
                        </a:moveTo>
                        <a:cubicBezTo>
                          <a:pt x="49" y="10"/>
                          <a:pt x="18" y="0"/>
                          <a:pt x="1" y="0"/>
                        </a:cubicBezTo>
                        <a:cubicBezTo>
                          <a:pt x="0" y="0"/>
                          <a:pt x="0" y="0"/>
                          <a:pt x="0" y="1"/>
                        </a:cubicBezTo>
                        <a:cubicBezTo>
                          <a:pt x="0" y="2"/>
                          <a:pt x="0" y="11"/>
                          <a:pt x="0" y="12"/>
                        </a:cubicBezTo>
                        <a:cubicBezTo>
                          <a:pt x="0" y="13"/>
                          <a:pt x="0" y="14"/>
                          <a:pt x="1" y="14"/>
                        </a:cubicBezTo>
                        <a:cubicBezTo>
                          <a:pt x="10" y="14"/>
                          <a:pt x="34" y="19"/>
                          <a:pt x="38" y="47"/>
                        </a:cubicBezTo>
                        <a:cubicBezTo>
                          <a:pt x="38" y="48"/>
                          <a:pt x="38" y="49"/>
                          <a:pt x="40" y="49"/>
                        </a:cubicBezTo>
                        <a:cubicBezTo>
                          <a:pt x="40" y="49"/>
                          <a:pt x="50" y="48"/>
                          <a:pt x="50" y="48"/>
                        </a:cubicBezTo>
                        <a:cubicBezTo>
                          <a:pt x="52" y="48"/>
                          <a:pt x="52" y="47"/>
                          <a:pt x="52" y="46"/>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sp>
              <p:nvSpPr>
                <p:cNvPr id="638" name="Freeform 252"/>
                <p:cNvSpPr>
                  <a:spLocks/>
                </p:cNvSpPr>
                <p:nvPr/>
              </p:nvSpPr>
              <p:spPr bwMode="auto">
                <a:xfrm rot="5400000">
                  <a:off x="11863849" y="1222685"/>
                  <a:ext cx="217066" cy="368231"/>
                </a:xfrm>
                <a:custGeom>
                  <a:avLst/>
                  <a:gdLst>
                    <a:gd name="T0" fmla="*/ 340 w 340"/>
                    <a:gd name="T1" fmla="*/ 2 h 200"/>
                    <a:gd name="T2" fmla="*/ 340 w 340"/>
                    <a:gd name="T3" fmla="*/ 200 h 200"/>
                    <a:gd name="T4" fmla="*/ 1 w 340"/>
                    <a:gd name="T5" fmla="*/ 200 h 200"/>
                    <a:gd name="T6" fmla="*/ 0 w 340"/>
                    <a:gd name="T7" fmla="*/ 0 h 200"/>
                    <a:gd name="T8" fmla="*/ 340 w 340"/>
                    <a:gd name="T9" fmla="*/ 2 h 200"/>
                    <a:gd name="T10" fmla="*/ 340 w 340"/>
                    <a:gd name="T11" fmla="*/ 2 h 200"/>
                  </a:gdLst>
                  <a:ahLst/>
                  <a:cxnLst>
                    <a:cxn ang="0">
                      <a:pos x="T0" y="T1"/>
                    </a:cxn>
                    <a:cxn ang="0">
                      <a:pos x="T2" y="T3"/>
                    </a:cxn>
                    <a:cxn ang="0">
                      <a:pos x="T4" y="T5"/>
                    </a:cxn>
                    <a:cxn ang="0">
                      <a:pos x="T6" y="T7"/>
                    </a:cxn>
                    <a:cxn ang="0">
                      <a:pos x="T8" y="T9"/>
                    </a:cxn>
                    <a:cxn ang="0">
                      <a:pos x="T10" y="T11"/>
                    </a:cxn>
                  </a:cxnLst>
                  <a:rect l="0" t="0" r="r" b="b"/>
                  <a:pathLst>
                    <a:path w="340" h="200">
                      <a:moveTo>
                        <a:pt x="340" y="2"/>
                      </a:moveTo>
                      <a:cubicBezTo>
                        <a:pt x="340" y="200"/>
                        <a:pt x="340" y="200"/>
                        <a:pt x="340" y="200"/>
                      </a:cubicBezTo>
                      <a:cubicBezTo>
                        <a:pt x="1" y="200"/>
                        <a:pt x="1" y="200"/>
                        <a:pt x="1" y="200"/>
                      </a:cubicBezTo>
                      <a:cubicBezTo>
                        <a:pt x="1" y="134"/>
                        <a:pt x="0" y="0"/>
                        <a:pt x="0" y="0"/>
                      </a:cubicBezTo>
                      <a:cubicBezTo>
                        <a:pt x="340" y="2"/>
                        <a:pt x="340" y="2"/>
                        <a:pt x="340" y="2"/>
                      </a:cubicBezTo>
                      <a:cubicBezTo>
                        <a:pt x="340" y="2"/>
                        <a:pt x="340" y="2"/>
                        <a:pt x="340" y="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39" name="Group 638"/>
                <p:cNvGrpSpPr/>
                <p:nvPr/>
              </p:nvGrpSpPr>
              <p:grpSpPr>
                <a:xfrm rot="16200000">
                  <a:off x="11860368" y="1212586"/>
                  <a:ext cx="241462" cy="385663"/>
                  <a:chOff x="11866434" y="1203525"/>
                  <a:chExt cx="241462" cy="385663"/>
                </a:xfrm>
              </p:grpSpPr>
              <p:sp>
                <p:nvSpPr>
                  <p:cNvPr id="645" name="Freeform 253"/>
                  <p:cNvSpPr>
                    <a:spLocks noEditPoints="1"/>
                  </p:cNvSpPr>
                  <p:nvPr/>
                </p:nvSpPr>
                <p:spPr bwMode="auto">
                  <a:xfrm rot="5400000">
                    <a:off x="11794333" y="1275626"/>
                    <a:ext cx="385663" cy="241462"/>
                  </a:xfrm>
                  <a:custGeom>
                    <a:avLst/>
                    <a:gdLst>
                      <a:gd name="T0" fmla="*/ 346 w 352"/>
                      <a:gd name="T1" fmla="*/ 212 h 212"/>
                      <a:gd name="T2" fmla="*/ 7 w 352"/>
                      <a:gd name="T3" fmla="*/ 212 h 212"/>
                      <a:gd name="T4" fmla="*/ 1 w 352"/>
                      <a:gd name="T5" fmla="*/ 206 h 212"/>
                      <a:gd name="T6" fmla="*/ 0 w 352"/>
                      <a:gd name="T7" fmla="*/ 6 h 212"/>
                      <a:gd name="T8" fmla="*/ 2 w 352"/>
                      <a:gd name="T9" fmla="*/ 2 h 212"/>
                      <a:gd name="T10" fmla="*/ 6 w 352"/>
                      <a:gd name="T11" fmla="*/ 0 h 212"/>
                      <a:gd name="T12" fmla="*/ 6 w 352"/>
                      <a:gd name="T13" fmla="*/ 0 h 212"/>
                      <a:gd name="T14" fmla="*/ 346 w 352"/>
                      <a:gd name="T15" fmla="*/ 2 h 212"/>
                      <a:gd name="T16" fmla="*/ 352 w 352"/>
                      <a:gd name="T17" fmla="*/ 8 h 212"/>
                      <a:gd name="T18" fmla="*/ 352 w 352"/>
                      <a:gd name="T19" fmla="*/ 206 h 212"/>
                      <a:gd name="T20" fmla="*/ 346 w 352"/>
                      <a:gd name="T21" fmla="*/ 212 h 212"/>
                      <a:gd name="T22" fmla="*/ 13 w 352"/>
                      <a:gd name="T23" fmla="*/ 200 h 212"/>
                      <a:gd name="T24" fmla="*/ 340 w 352"/>
                      <a:gd name="T25" fmla="*/ 200 h 212"/>
                      <a:gd name="T26" fmla="*/ 340 w 352"/>
                      <a:gd name="T27" fmla="*/ 14 h 212"/>
                      <a:gd name="T28" fmla="*/ 12 w 352"/>
                      <a:gd name="T29" fmla="*/ 12 h 212"/>
                      <a:gd name="T30" fmla="*/ 13 w 352"/>
                      <a:gd name="T31" fmla="*/ 20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2" h="212">
                        <a:moveTo>
                          <a:pt x="346" y="212"/>
                        </a:moveTo>
                        <a:cubicBezTo>
                          <a:pt x="7" y="212"/>
                          <a:pt x="7" y="212"/>
                          <a:pt x="7" y="212"/>
                        </a:cubicBezTo>
                        <a:cubicBezTo>
                          <a:pt x="4" y="212"/>
                          <a:pt x="1" y="209"/>
                          <a:pt x="1" y="206"/>
                        </a:cubicBezTo>
                        <a:cubicBezTo>
                          <a:pt x="1" y="141"/>
                          <a:pt x="0" y="7"/>
                          <a:pt x="0" y="6"/>
                        </a:cubicBezTo>
                        <a:cubicBezTo>
                          <a:pt x="0" y="4"/>
                          <a:pt x="1" y="3"/>
                          <a:pt x="2" y="2"/>
                        </a:cubicBezTo>
                        <a:cubicBezTo>
                          <a:pt x="3" y="1"/>
                          <a:pt x="5" y="0"/>
                          <a:pt x="6" y="0"/>
                        </a:cubicBezTo>
                        <a:cubicBezTo>
                          <a:pt x="6" y="0"/>
                          <a:pt x="6" y="0"/>
                          <a:pt x="6" y="0"/>
                        </a:cubicBezTo>
                        <a:cubicBezTo>
                          <a:pt x="346" y="2"/>
                          <a:pt x="346" y="2"/>
                          <a:pt x="346" y="2"/>
                        </a:cubicBezTo>
                        <a:cubicBezTo>
                          <a:pt x="349" y="2"/>
                          <a:pt x="352" y="5"/>
                          <a:pt x="352" y="8"/>
                        </a:cubicBezTo>
                        <a:cubicBezTo>
                          <a:pt x="352" y="206"/>
                          <a:pt x="352" y="206"/>
                          <a:pt x="352" y="206"/>
                        </a:cubicBezTo>
                        <a:cubicBezTo>
                          <a:pt x="352" y="209"/>
                          <a:pt x="349" y="212"/>
                          <a:pt x="346" y="212"/>
                        </a:cubicBezTo>
                        <a:close/>
                        <a:moveTo>
                          <a:pt x="13" y="200"/>
                        </a:moveTo>
                        <a:cubicBezTo>
                          <a:pt x="340" y="200"/>
                          <a:pt x="340" y="200"/>
                          <a:pt x="340" y="200"/>
                        </a:cubicBezTo>
                        <a:cubicBezTo>
                          <a:pt x="340" y="14"/>
                          <a:pt x="340" y="14"/>
                          <a:pt x="340" y="14"/>
                        </a:cubicBezTo>
                        <a:cubicBezTo>
                          <a:pt x="12" y="12"/>
                          <a:pt x="12" y="12"/>
                          <a:pt x="12" y="12"/>
                        </a:cubicBezTo>
                        <a:cubicBezTo>
                          <a:pt x="12" y="38"/>
                          <a:pt x="13" y="142"/>
                          <a:pt x="13" y="200"/>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46" name="Freeform 254"/>
                  <p:cNvSpPr>
                    <a:spLocks noEditPoints="1"/>
                  </p:cNvSpPr>
                  <p:nvPr/>
                </p:nvSpPr>
                <p:spPr bwMode="auto">
                  <a:xfrm rot="5400000">
                    <a:off x="11895210" y="1352244"/>
                    <a:ext cx="209568" cy="188642"/>
                  </a:xfrm>
                  <a:custGeom>
                    <a:avLst/>
                    <a:gdLst>
                      <a:gd name="T0" fmla="*/ 157 w 192"/>
                      <a:gd name="T1" fmla="*/ 26 h 165"/>
                      <a:gd name="T2" fmla="*/ 139 w 192"/>
                      <a:gd name="T3" fmla="*/ 31 h 165"/>
                      <a:gd name="T4" fmla="*/ 90 w 192"/>
                      <a:gd name="T5" fmla="*/ 0 h 165"/>
                      <a:gd name="T6" fmla="*/ 38 w 192"/>
                      <a:gd name="T7" fmla="*/ 43 h 165"/>
                      <a:gd name="T8" fmla="*/ 27 w 192"/>
                      <a:gd name="T9" fmla="*/ 40 h 165"/>
                      <a:gd name="T10" fmla="*/ 0 w 192"/>
                      <a:gd name="T11" fmla="*/ 68 h 165"/>
                      <a:gd name="T12" fmla="*/ 27 w 192"/>
                      <a:gd name="T13" fmla="*/ 95 h 165"/>
                      <a:gd name="T14" fmla="*/ 157 w 192"/>
                      <a:gd name="T15" fmla="*/ 95 h 165"/>
                      <a:gd name="T16" fmla="*/ 192 w 192"/>
                      <a:gd name="T17" fmla="*/ 61 h 165"/>
                      <a:gd name="T18" fmla="*/ 157 w 192"/>
                      <a:gd name="T19" fmla="*/ 26 h 165"/>
                      <a:gd name="T20" fmla="*/ 125 w 192"/>
                      <a:gd name="T21" fmla="*/ 105 h 165"/>
                      <a:gd name="T22" fmla="*/ 115 w 192"/>
                      <a:gd name="T23" fmla="*/ 105 h 165"/>
                      <a:gd name="T24" fmla="*/ 115 w 192"/>
                      <a:gd name="T25" fmla="*/ 137 h 165"/>
                      <a:gd name="T26" fmla="*/ 96 w 192"/>
                      <a:gd name="T27" fmla="*/ 152 h 165"/>
                      <a:gd name="T28" fmla="*/ 77 w 192"/>
                      <a:gd name="T29" fmla="*/ 137 h 165"/>
                      <a:gd name="T30" fmla="*/ 77 w 192"/>
                      <a:gd name="T31" fmla="*/ 105 h 165"/>
                      <a:gd name="T32" fmla="*/ 67 w 192"/>
                      <a:gd name="T33" fmla="*/ 105 h 165"/>
                      <a:gd name="T34" fmla="*/ 67 w 192"/>
                      <a:gd name="T35" fmla="*/ 131 h 165"/>
                      <a:gd name="T36" fmla="*/ 52 w 192"/>
                      <a:gd name="T37" fmla="*/ 131 h 165"/>
                      <a:gd name="T38" fmla="*/ 96 w 192"/>
                      <a:gd name="T39" fmla="*/ 165 h 165"/>
                      <a:gd name="T40" fmla="*/ 139 w 192"/>
                      <a:gd name="T41" fmla="*/ 131 h 165"/>
                      <a:gd name="T42" fmla="*/ 125 w 192"/>
                      <a:gd name="T43" fmla="*/ 131 h 165"/>
                      <a:gd name="T44" fmla="*/ 125 w 192"/>
                      <a:gd name="T45" fmla="*/ 105 h 165"/>
                      <a:gd name="T46" fmla="*/ 125 w 192"/>
                      <a:gd name="T47" fmla="*/ 10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65">
                        <a:moveTo>
                          <a:pt x="157" y="26"/>
                        </a:moveTo>
                        <a:cubicBezTo>
                          <a:pt x="150" y="26"/>
                          <a:pt x="144" y="28"/>
                          <a:pt x="139" y="31"/>
                        </a:cubicBezTo>
                        <a:cubicBezTo>
                          <a:pt x="130" y="13"/>
                          <a:pt x="112" y="0"/>
                          <a:pt x="90" y="0"/>
                        </a:cubicBezTo>
                        <a:cubicBezTo>
                          <a:pt x="65" y="0"/>
                          <a:pt x="43" y="18"/>
                          <a:pt x="38" y="43"/>
                        </a:cubicBezTo>
                        <a:cubicBezTo>
                          <a:pt x="35" y="41"/>
                          <a:pt x="31" y="40"/>
                          <a:pt x="27" y="40"/>
                        </a:cubicBezTo>
                        <a:cubicBezTo>
                          <a:pt x="12" y="40"/>
                          <a:pt x="0" y="53"/>
                          <a:pt x="0" y="68"/>
                        </a:cubicBezTo>
                        <a:cubicBezTo>
                          <a:pt x="0" y="83"/>
                          <a:pt x="12" y="95"/>
                          <a:pt x="27" y="95"/>
                        </a:cubicBezTo>
                        <a:cubicBezTo>
                          <a:pt x="157" y="95"/>
                          <a:pt x="157" y="95"/>
                          <a:pt x="157" y="95"/>
                        </a:cubicBezTo>
                        <a:cubicBezTo>
                          <a:pt x="176" y="95"/>
                          <a:pt x="192" y="80"/>
                          <a:pt x="192" y="61"/>
                        </a:cubicBezTo>
                        <a:cubicBezTo>
                          <a:pt x="192" y="42"/>
                          <a:pt x="176" y="26"/>
                          <a:pt x="157" y="26"/>
                        </a:cubicBezTo>
                        <a:close/>
                        <a:moveTo>
                          <a:pt x="125" y="105"/>
                        </a:moveTo>
                        <a:cubicBezTo>
                          <a:pt x="115" y="105"/>
                          <a:pt x="115" y="105"/>
                          <a:pt x="115" y="105"/>
                        </a:cubicBezTo>
                        <a:cubicBezTo>
                          <a:pt x="115" y="137"/>
                          <a:pt x="115" y="137"/>
                          <a:pt x="115" y="137"/>
                        </a:cubicBezTo>
                        <a:cubicBezTo>
                          <a:pt x="96" y="152"/>
                          <a:pt x="96" y="152"/>
                          <a:pt x="96" y="152"/>
                        </a:cubicBezTo>
                        <a:cubicBezTo>
                          <a:pt x="77" y="137"/>
                          <a:pt x="77" y="137"/>
                          <a:pt x="77" y="137"/>
                        </a:cubicBezTo>
                        <a:cubicBezTo>
                          <a:pt x="77" y="105"/>
                          <a:pt x="77" y="105"/>
                          <a:pt x="77" y="105"/>
                        </a:cubicBezTo>
                        <a:cubicBezTo>
                          <a:pt x="67" y="105"/>
                          <a:pt x="67" y="105"/>
                          <a:pt x="67" y="105"/>
                        </a:cubicBezTo>
                        <a:cubicBezTo>
                          <a:pt x="67" y="131"/>
                          <a:pt x="67" y="131"/>
                          <a:pt x="67" y="131"/>
                        </a:cubicBezTo>
                        <a:cubicBezTo>
                          <a:pt x="52" y="131"/>
                          <a:pt x="52" y="131"/>
                          <a:pt x="52" y="131"/>
                        </a:cubicBezTo>
                        <a:cubicBezTo>
                          <a:pt x="96" y="165"/>
                          <a:pt x="96" y="165"/>
                          <a:pt x="96" y="165"/>
                        </a:cubicBezTo>
                        <a:cubicBezTo>
                          <a:pt x="139" y="131"/>
                          <a:pt x="139" y="131"/>
                          <a:pt x="139" y="131"/>
                        </a:cubicBezTo>
                        <a:cubicBezTo>
                          <a:pt x="125" y="131"/>
                          <a:pt x="125" y="131"/>
                          <a:pt x="125" y="131"/>
                        </a:cubicBezTo>
                        <a:cubicBezTo>
                          <a:pt x="125" y="105"/>
                          <a:pt x="125" y="105"/>
                          <a:pt x="125" y="105"/>
                        </a:cubicBezTo>
                        <a:cubicBezTo>
                          <a:pt x="125" y="105"/>
                          <a:pt x="125" y="105"/>
                          <a:pt x="125" y="105"/>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47" name="Freeform 255"/>
                  <p:cNvSpPr>
                    <a:spLocks noEditPoints="1"/>
                  </p:cNvSpPr>
                  <p:nvPr/>
                </p:nvSpPr>
                <p:spPr bwMode="auto">
                  <a:xfrm rot="5400000">
                    <a:off x="11896345" y="1249129"/>
                    <a:ext cx="107695" cy="95075"/>
                  </a:xfrm>
                  <a:custGeom>
                    <a:avLst/>
                    <a:gdLst>
                      <a:gd name="T0" fmla="*/ 95 w 98"/>
                      <a:gd name="T1" fmla="*/ 0 h 83"/>
                      <a:gd name="T2" fmla="*/ 3 w 98"/>
                      <a:gd name="T3" fmla="*/ 0 h 83"/>
                      <a:gd name="T4" fmla="*/ 0 w 98"/>
                      <a:gd name="T5" fmla="*/ 3 h 83"/>
                      <a:gd name="T6" fmla="*/ 0 w 98"/>
                      <a:gd name="T7" fmla="*/ 69 h 83"/>
                      <a:gd name="T8" fmla="*/ 3 w 98"/>
                      <a:gd name="T9" fmla="*/ 72 h 83"/>
                      <a:gd name="T10" fmla="*/ 33 w 98"/>
                      <a:gd name="T11" fmla="*/ 72 h 83"/>
                      <a:gd name="T12" fmla="*/ 33 w 98"/>
                      <a:gd name="T13" fmla="*/ 77 h 83"/>
                      <a:gd name="T14" fmla="*/ 27 w 98"/>
                      <a:gd name="T15" fmla="*/ 83 h 83"/>
                      <a:gd name="T16" fmla="*/ 73 w 98"/>
                      <a:gd name="T17" fmla="*/ 83 h 83"/>
                      <a:gd name="T18" fmla="*/ 67 w 98"/>
                      <a:gd name="T19" fmla="*/ 77 h 83"/>
                      <a:gd name="T20" fmla="*/ 67 w 98"/>
                      <a:gd name="T21" fmla="*/ 72 h 83"/>
                      <a:gd name="T22" fmla="*/ 95 w 98"/>
                      <a:gd name="T23" fmla="*/ 72 h 83"/>
                      <a:gd name="T24" fmla="*/ 98 w 98"/>
                      <a:gd name="T25" fmla="*/ 69 h 83"/>
                      <a:gd name="T26" fmla="*/ 98 w 98"/>
                      <a:gd name="T27" fmla="*/ 3 h 83"/>
                      <a:gd name="T28" fmla="*/ 95 w 98"/>
                      <a:gd name="T29" fmla="*/ 0 h 83"/>
                      <a:gd name="T30" fmla="*/ 93 w 98"/>
                      <a:gd name="T31" fmla="*/ 64 h 83"/>
                      <a:gd name="T32" fmla="*/ 90 w 98"/>
                      <a:gd name="T33" fmla="*/ 67 h 83"/>
                      <a:gd name="T34" fmla="*/ 8 w 98"/>
                      <a:gd name="T35" fmla="*/ 67 h 83"/>
                      <a:gd name="T36" fmla="*/ 6 w 98"/>
                      <a:gd name="T37" fmla="*/ 64 h 83"/>
                      <a:gd name="T38" fmla="*/ 6 w 98"/>
                      <a:gd name="T39" fmla="*/ 8 h 83"/>
                      <a:gd name="T40" fmla="*/ 8 w 98"/>
                      <a:gd name="T41" fmla="*/ 5 h 83"/>
                      <a:gd name="T42" fmla="*/ 90 w 98"/>
                      <a:gd name="T43" fmla="*/ 5 h 83"/>
                      <a:gd name="T44" fmla="*/ 93 w 98"/>
                      <a:gd name="T45" fmla="*/ 8 h 83"/>
                      <a:gd name="T46" fmla="*/ 93 w 98"/>
                      <a:gd name="T47" fmla="*/ 64 h 83"/>
                      <a:gd name="T48" fmla="*/ 93 w 98"/>
                      <a:gd name="T49" fmla="*/ 6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83">
                        <a:moveTo>
                          <a:pt x="95" y="0"/>
                        </a:moveTo>
                        <a:cubicBezTo>
                          <a:pt x="3" y="0"/>
                          <a:pt x="3" y="0"/>
                          <a:pt x="3" y="0"/>
                        </a:cubicBezTo>
                        <a:cubicBezTo>
                          <a:pt x="1" y="0"/>
                          <a:pt x="0" y="1"/>
                          <a:pt x="0" y="3"/>
                        </a:cubicBezTo>
                        <a:cubicBezTo>
                          <a:pt x="0" y="69"/>
                          <a:pt x="0" y="69"/>
                          <a:pt x="0" y="69"/>
                        </a:cubicBezTo>
                        <a:cubicBezTo>
                          <a:pt x="0" y="71"/>
                          <a:pt x="1" y="72"/>
                          <a:pt x="3" y="72"/>
                        </a:cubicBezTo>
                        <a:cubicBezTo>
                          <a:pt x="33" y="72"/>
                          <a:pt x="33" y="72"/>
                          <a:pt x="33" y="72"/>
                        </a:cubicBezTo>
                        <a:cubicBezTo>
                          <a:pt x="33" y="77"/>
                          <a:pt x="33" y="77"/>
                          <a:pt x="33" y="77"/>
                        </a:cubicBezTo>
                        <a:cubicBezTo>
                          <a:pt x="27" y="83"/>
                          <a:pt x="27" y="83"/>
                          <a:pt x="27" y="83"/>
                        </a:cubicBezTo>
                        <a:cubicBezTo>
                          <a:pt x="73" y="83"/>
                          <a:pt x="73" y="83"/>
                          <a:pt x="73" y="83"/>
                        </a:cubicBezTo>
                        <a:cubicBezTo>
                          <a:pt x="67" y="77"/>
                          <a:pt x="67" y="77"/>
                          <a:pt x="67" y="77"/>
                        </a:cubicBezTo>
                        <a:cubicBezTo>
                          <a:pt x="67" y="72"/>
                          <a:pt x="67" y="72"/>
                          <a:pt x="67" y="72"/>
                        </a:cubicBezTo>
                        <a:cubicBezTo>
                          <a:pt x="95" y="72"/>
                          <a:pt x="95" y="72"/>
                          <a:pt x="95" y="72"/>
                        </a:cubicBezTo>
                        <a:cubicBezTo>
                          <a:pt x="97" y="72"/>
                          <a:pt x="98" y="71"/>
                          <a:pt x="98" y="69"/>
                        </a:cubicBezTo>
                        <a:cubicBezTo>
                          <a:pt x="98" y="3"/>
                          <a:pt x="98" y="3"/>
                          <a:pt x="98" y="3"/>
                        </a:cubicBezTo>
                        <a:cubicBezTo>
                          <a:pt x="98" y="1"/>
                          <a:pt x="97" y="0"/>
                          <a:pt x="95" y="0"/>
                        </a:cubicBezTo>
                        <a:close/>
                        <a:moveTo>
                          <a:pt x="93" y="64"/>
                        </a:moveTo>
                        <a:cubicBezTo>
                          <a:pt x="93" y="66"/>
                          <a:pt x="91" y="67"/>
                          <a:pt x="90" y="67"/>
                        </a:cubicBezTo>
                        <a:cubicBezTo>
                          <a:pt x="8" y="67"/>
                          <a:pt x="8" y="67"/>
                          <a:pt x="8" y="67"/>
                        </a:cubicBezTo>
                        <a:cubicBezTo>
                          <a:pt x="7" y="67"/>
                          <a:pt x="6" y="66"/>
                          <a:pt x="6" y="64"/>
                        </a:cubicBezTo>
                        <a:cubicBezTo>
                          <a:pt x="6" y="8"/>
                          <a:pt x="6" y="8"/>
                          <a:pt x="6" y="8"/>
                        </a:cubicBezTo>
                        <a:cubicBezTo>
                          <a:pt x="6" y="6"/>
                          <a:pt x="7" y="5"/>
                          <a:pt x="8" y="5"/>
                        </a:cubicBezTo>
                        <a:cubicBezTo>
                          <a:pt x="90" y="5"/>
                          <a:pt x="90" y="5"/>
                          <a:pt x="90" y="5"/>
                        </a:cubicBezTo>
                        <a:cubicBezTo>
                          <a:pt x="91" y="5"/>
                          <a:pt x="93" y="6"/>
                          <a:pt x="93" y="8"/>
                        </a:cubicBezTo>
                        <a:cubicBezTo>
                          <a:pt x="93" y="64"/>
                          <a:pt x="93" y="64"/>
                          <a:pt x="93" y="64"/>
                        </a:cubicBezTo>
                        <a:cubicBezTo>
                          <a:pt x="93" y="64"/>
                          <a:pt x="93" y="64"/>
                          <a:pt x="93" y="64"/>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sp>
              <p:nvSpPr>
                <p:cNvPr id="640" name="Freeform 256"/>
                <p:cNvSpPr>
                  <a:spLocks/>
                </p:cNvSpPr>
                <p:nvPr/>
              </p:nvSpPr>
              <p:spPr bwMode="auto">
                <a:xfrm rot="5400000">
                  <a:off x="11859127" y="1846436"/>
                  <a:ext cx="135346" cy="141859"/>
                </a:xfrm>
                <a:custGeom>
                  <a:avLst/>
                  <a:gdLst>
                    <a:gd name="T0" fmla="*/ 93 w 93"/>
                    <a:gd name="T1" fmla="*/ 23 h 94"/>
                    <a:gd name="T2" fmla="*/ 46 w 93"/>
                    <a:gd name="T3" fmla="*/ 23 h 94"/>
                    <a:gd name="T4" fmla="*/ 46 w 93"/>
                    <a:gd name="T5" fmla="*/ 0 h 94"/>
                    <a:gd name="T6" fmla="*/ 0 w 93"/>
                    <a:gd name="T7" fmla="*/ 47 h 94"/>
                    <a:gd name="T8" fmla="*/ 46 w 93"/>
                    <a:gd name="T9" fmla="*/ 94 h 94"/>
                    <a:gd name="T10" fmla="*/ 46 w 93"/>
                    <a:gd name="T11" fmla="*/ 70 h 94"/>
                    <a:gd name="T12" fmla="*/ 93 w 93"/>
                    <a:gd name="T13" fmla="*/ 70 h 94"/>
                    <a:gd name="T14" fmla="*/ 93 w 93"/>
                    <a:gd name="T15" fmla="*/ 23 h 94"/>
                    <a:gd name="T16" fmla="*/ 93 w 93"/>
                    <a:gd name="T17"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4">
                      <a:moveTo>
                        <a:pt x="93" y="23"/>
                      </a:moveTo>
                      <a:lnTo>
                        <a:pt x="46" y="23"/>
                      </a:lnTo>
                      <a:lnTo>
                        <a:pt x="46" y="0"/>
                      </a:lnTo>
                      <a:lnTo>
                        <a:pt x="0" y="47"/>
                      </a:lnTo>
                      <a:lnTo>
                        <a:pt x="46" y="94"/>
                      </a:lnTo>
                      <a:lnTo>
                        <a:pt x="46" y="70"/>
                      </a:lnTo>
                      <a:lnTo>
                        <a:pt x="93" y="70"/>
                      </a:lnTo>
                      <a:lnTo>
                        <a:pt x="93" y="23"/>
                      </a:lnTo>
                      <a:lnTo>
                        <a:pt x="93" y="23"/>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41" name="Group 640"/>
                <p:cNvGrpSpPr/>
                <p:nvPr/>
              </p:nvGrpSpPr>
              <p:grpSpPr>
                <a:xfrm rot="16200000">
                  <a:off x="10847771" y="1945572"/>
                  <a:ext cx="239952" cy="64035"/>
                  <a:chOff x="10769293" y="1881709"/>
                  <a:chExt cx="239952" cy="64035"/>
                </a:xfrm>
              </p:grpSpPr>
              <p:sp>
                <p:nvSpPr>
                  <p:cNvPr id="643" name="Freeform 257"/>
                  <p:cNvSpPr>
                    <a:spLocks noEditPoints="1"/>
                  </p:cNvSpPr>
                  <p:nvPr/>
                </p:nvSpPr>
                <p:spPr bwMode="auto">
                  <a:xfrm rot="5400000">
                    <a:off x="10857251" y="1793751"/>
                    <a:ext cx="64035" cy="239952"/>
                  </a:xfrm>
                  <a:custGeom>
                    <a:avLst/>
                    <a:gdLst>
                      <a:gd name="T0" fmla="*/ 49 w 58"/>
                      <a:gd name="T1" fmla="*/ 0 h 211"/>
                      <a:gd name="T2" fmla="*/ 9 w 58"/>
                      <a:gd name="T3" fmla="*/ 0 h 211"/>
                      <a:gd name="T4" fmla="*/ 0 w 58"/>
                      <a:gd name="T5" fmla="*/ 9 h 211"/>
                      <a:gd name="T6" fmla="*/ 0 w 58"/>
                      <a:gd name="T7" fmla="*/ 202 h 211"/>
                      <a:gd name="T8" fmla="*/ 9 w 58"/>
                      <a:gd name="T9" fmla="*/ 211 h 211"/>
                      <a:gd name="T10" fmla="*/ 49 w 58"/>
                      <a:gd name="T11" fmla="*/ 211 h 211"/>
                      <a:gd name="T12" fmla="*/ 58 w 58"/>
                      <a:gd name="T13" fmla="*/ 202 h 211"/>
                      <a:gd name="T14" fmla="*/ 58 w 58"/>
                      <a:gd name="T15" fmla="*/ 9 h 211"/>
                      <a:gd name="T16" fmla="*/ 49 w 58"/>
                      <a:gd name="T17" fmla="*/ 0 h 211"/>
                      <a:gd name="T18" fmla="*/ 13 w 58"/>
                      <a:gd name="T19" fmla="*/ 19 h 211"/>
                      <a:gd name="T20" fmla="*/ 19 w 58"/>
                      <a:gd name="T21" fmla="*/ 14 h 211"/>
                      <a:gd name="T22" fmla="*/ 39 w 58"/>
                      <a:gd name="T23" fmla="*/ 14 h 211"/>
                      <a:gd name="T24" fmla="*/ 44 w 58"/>
                      <a:gd name="T25" fmla="*/ 19 h 211"/>
                      <a:gd name="T26" fmla="*/ 44 w 58"/>
                      <a:gd name="T27" fmla="*/ 142 h 211"/>
                      <a:gd name="T28" fmla="*/ 39 w 58"/>
                      <a:gd name="T29" fmla="*/ 147 h 211"/>
                      <a:gd name="T30" fmla="*/ 19 w 58"/>
                      <a:gd name="T31" fmla="*/ 147 h 211"/>
                      <a:gd name="T32" fmla="*/ 13 w 58"/>
                      <a:gd name="T33" fmla="*/ 142 h 211"/>
                      <a:gd name="T34" fmla="*/ 13 w 58"/>
                      <a:gd name="T35" fmla="*/ 19 h 211"/>
                      <a:gd name="T36" fmla="*/ 13 w 58"/>
                      <a:gd name="T37" fmla="*/ 19 h 211"/>
                      <a:gd name="T38" fmla="*/ 29 w 58"/>
                      <a:gd name="T39" fmla="*/ 199 h 211"/>
                      <a:gd name="T40" fmla="*/ 13 w 58"/>
                      <a:gd name="T41" fmla="*/ 184 h 211"/>
                      <a:gd name="T42" fmla="*/ 29 w 58"/>
                      <a:gd name="T43" fmla="*/ 168 h 211"/>
                      <a:gd name="T44" fmla="*/ 44 w 58"/>
                      <a:gd name="T45" fmla="*/ 184 h 211"/>
                      <a:gd name="T46" fmla="*/ 29 w 58"/>
                      <a:gd name="T47" fmla="*/ 19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211">
                        <a:moveTo>
                          <a:pt x="49" y="0"/>
                        </a:moveTo>
                        <a:cubicBezTo>
                          <a:pt x="9" y="0"/>
                          <a:pt x="9" y="0"/>
                          <a:pt x="9" y="0"/>
                        </a:cubicBezTo>
                        <a:cubicBezTo>
                          <a:pt x="4" y="0"/>
                          <a:pt x="0" y="4"/>
                          <a:pt x="0" y="9"/>
                        </a:cubicBezTo>
                        <a:cubicBezTo>
                          <a:pt x="0" y="202"/>
                          <a:pt x="0" y="202"/>
                          <a:pt x="0" y="202"/>
                        </a:cubicBezTo>
                        <a:cubicBezTo>
                          <a:pt x="0" y="207"/>
                          <a:pt x="4" y="211"/>
                          <a:pt x="9" y="211"/>
                        </a:cubicBezTo>
                        <a:cubicBezTo>
                          <a:pt x="49" y="211"/>
                          <a:pt x="49" y="211"/>
                          <a:pt x="49" y="211"/>
                        </a:cubicBezTo>
                        <a:cubicBezTo>
                          <a:pt x="54" y="211"/>
                          <a:pt x="58" y="207"/>
                          <a:pt x="58" y="202"/>
                        </a:cubicBezTo>
                        <a:cubicBezTo>
                          <a:pt x="58" y="9"/>
                          <a:pt x="58" y="9"/>
                          <a:pt x="58" y="9"/>
                        </a:cubicBezTo>
                        <a:cubicBezTo>
                          <a:pt x="58" y="4"/>
                          <a:pt x="54" y="0"/>
                          <a:pt x="49" y="0"/>
                        </a:cubicBezTo>
                        <a:close/>
                        <a:moveTo>
                          <a:pt x="13" y="19"/>
                        </a:moveTo>
                        <a:cubicBezTo>
                          <a:pt x="13" y="17"/>
                          <a:pt x="16" y="14"/>
                          <a:pt x="19" y="14"/>
                        </a:cubicBezTo>
                        <a:cubicBezTo>
                          <a:pt x="39" y="14"/>
                          <a:pt x="39" y="14"/>
                          <a:pt x="39" y="14"/>
                        </a:cubicBezTo>
                        <a:cubicBezTo>
                          <a:pt x="42" y="14"/>
                          <a:pt x="44" y="17"/>
                          <a:pt x="44" y="19"/>
                        </a:cubicBezTo>
                        <a:cubicBezTo>
                          <a:pt x="44" y="142"/>
                          <a:pt x="44" y="142"/>
                          <a:pt x="44" y="142"/>
                        </a:cubicBezTo>
                        <a:cubicBezTo>
                          <a:pt x="44" y="145"/>
                          <a:pt x="42" y="147"/>
                          <a:pt x="39" y="147"/>
                        </a:cubicBezTo>
                        <a:cubicBezTo>
                          <a:pt x="19" y="147"/>
                          <a:pt x="19" y="147"/>
                          <a:pt x="19" y="147"/>
                        </a:cubicBezTo>
                        <a:cubicBezTo>
                          <a:pt x="16" y="147"/>
                          <a:pt x="13" y="145"/>
                          <a:pt x="13" y="142"/>
                        </a:cubicBezTo>
                        <a:cubicBezTo>
                          <a:pt x="13" y="19"/>
                          <a:pt x="13" y="19"/>
                          <a:pt x="13" y="19"/>
                        </a:cubicBezTo>
                        <a:cubicBezTo>
                          <a:pt x="13" y="19"/>
                          <a:pt x="13" y="19"/>
                          <a:pt x="13" y="19"/>
                        </a:cubicBezTo>
                        <a:close/>
                        <a:moveTo>
                          <a:pt x="29" y="199"/>
                        </a:moveTo>
                        <a:cubicBezTo>
                          <a:pt x="20" y="199"/>
                          <a:pt x="13" y="192"/>
                          <a:pt x="13" y="184"/>
                        </a:cubicBezTo>
                        <a:cubicBezTo>
                          <a:pt x="13" y="175"/>
                          <a:pt x="20" y="168"/>
                          <a:pt x="29" y="168"/>
                        </a:cubicBezTo>
                        <a:cubicBezTo>
                          <a:pt x="37" y="168"/>
                          <a:pt x="44" y="175"/>
                          <a:pt x="44" y="184"/>
                        </a:cubicBezTo>
                        <a:cubicBezTo>
                          <a:pt x="44" y="192"/>
                          <a:pt x="37" y="199"/>
                          <a:pt x="29" y="199"/>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44" name="Oval 258"/>
                  <p:cNvSpPr>
                    <a:spLocks noChangeArrowheads="1"/>
                  </p:cNvSpPr>
                  <p:nvPr/>
                </p:nvSpPr>
                <p:spPr bwMode="auto">
                  <a:xfrm rot="5400000">
                    <a:off x="10792251" y="1904672"/>
                    <a:ext cx="17464" cy="18110"/>
                  </a:xfrm>
                  <a:prstGeom prst="ellipse">
                    <a:avLst/>
                  </a:pr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sp>
              <p:nvSpPr>
                <p:cNvPr id="642" name="Freeform 259"/>
                <p:cNvSpPr>
                  <a:spLocks/>
                </p:cNvSpPr>
                <p:nvPr/>
              </p:nvSpPr>
              <p:spPr bwMode="auto">
                <a:xfrm>
                  <a:off x="10332565" y="1583717"/>
                  <a:ext cx="116985" cy="105399"/>
                </a:xfrm>
                <a:custGeom>
                  <a:avLst/>
                  <a:gdLst>
                    <a:gd name="T0" fmla="*/ 66 w 80"/>
                    <a:gd name="T1" fmla="*/ 0 h 70"/>
                    <a:gd name="T2" fmla="*/ 80 w 80"/>
                    <a:gd name="T3" fmla="*/ 14 h 70"/>
                    <a:gd name="T4" fmla="*/ 66 w 80"/>
                    <a:gd name="T5" fmla="*/ 28 h 70"/>
                    <a:gd name="T6" fmla="*/ 53 w 80"/>
                    <a:gd name="T7" fmla="*/ 19 h 70"/>
                    <a:gd name="T8" fmla="*/ 53 w 80"/>
                    <a:gd name="T9" fmla="*/ 18 h 70"/>
                    <a:gd name="T10" fmla="*/ 28 w 80"/>
                    <a:gd name="T11" fmla="*/ 28 h 70"/>
                    <a:gd name="T12" fmla="*/ 28 w 80"/>
                    <a:gd name="T13" fmla="*/ 29 h 70"/>
                    <a:gd name="T14" fmla="*/ 26 w 80"/>
                    <a:gd name="T15" fmla="*/ 34 h 70"/>
                    <a:gd name="T16" fmla="*/ 51 w 80"/>
                    <a:gd name="T17" fmla="*/ 49 h 70"/>
                    <a:gd name="T18" fmla="*/ 53 w 80"/>
                    <a:gd name="T19" fmla="*/ 46 h 70"/>
                    <a:gd name="T20" fmla="*/ 63 w 80"/>
                    <a:gd name="T21" fmla="*/ 42 h 70"/>
                    <a:gd name="T22" fmla="*/ 77 w 80"/>
                    <a:gd name="T23" fmla="*/ 56 h 70"/>
                    <a:gd name="T24" fmla="*/ 63 w 80"/>
                    <a:gd name="T25" fmla="*/ 70 h 70"/>
                    <a:gd name="T26" fmla="*/ 49 w 80"/>
                    <a:gd name="T27" fmla="*/ 56 h 70"/>
                    <a:gd name="T28" fmla="*/ 49 w 80"/>
                    <a:gd name="T29" fmla="*/ 55 h 70"/>
                    <a:gd name="T30" fmla="*/ 23 w 80"/>
                    <a:gd name="T31" fmla="*/ 40 h 70"/>
                    <a:gd name="T32" fmla="*/ 20 w 80"/>
                    <a:gd name="T33" fmla="*/ 42 h 70"/>
                    <a:gd name="T34" fmla="*/ 14 w 80"/>
                    <a:gd name="T35" fmla="*/ 43 h 70"/>
                    <a:gd name="T36" fmla="*/ 0 w 80"/>
                    <a:gd name="T37" fmla="*/ 29 h 70"/>
                    <a:gd name="T38" fmla="*/ 14 w 80"/>
                    <a:gd name="T39" fmla="*/ 15 h 70"/>
                    <a:gd name="T40" fmla="*/ 24 w 80"/>
                    <a:gd name="T41" fmla="*/ 19 h 70"/>
                    <a:gd name="T42" fmla="*/ 26 w 80"/>
                    <a:gd name="T43" fmla="*/ 21 h 70"/>
                    <a:gd name="T44" fmla="*/ 52 w 80"/>
                    <a:gd name="T45" fmla="*/ 12 h 70"/>
                    <a:gd name="T46" fmla="*/ 53 w 80"/>
                    <a:gd name="T47" fmla="*/ 8 h 70"/>
                    <a:gd name="T48" fmla="*/ 66 w 80"/>
                    <a:gd name="T4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 h="70">
                      <a:moveTo>
                        <a:pt x="66" y="0"/>
                      </a:moveTo>
                      <a:cubicBezTo>
                        <a:pt x="73" y="0"/>
                        <a:pt x="80" y="6"/>
                        <a:pt x="80" y="14"/>
                      </a:cubicBezTo>
                      <a:cubicBezTo>
                        <a:pt x="80" y="22"/>
                        <a:pt x="73" y="28"/>
                        <a:pt x="66" y="28"/>
                      </a:cubicBezTo>
                      <a:cubicBezTo>
                        <a:pt x="60" y="28"/>
                        <a:pt x="55" y="24"/>
                        <a:pt x="53" y="19"/>
                      </a:cubicBezTo>
                      <a:cubicBezTo>
                        <a:pt x="53" y="18"/>
                        <a:pt x="53" y="18"/>
                        <a:pt x="53" y="18"/>
                      </a:cubicBezTo>
                      <a:cubicBezTo>
                        <a:pt x="28" y="28"/>
                        <a:pt x="28" y="28"/>
                        <a:pt x="28" y="28"/>
                      </a:cubicBezTo>
                      <a:cubicBezTo>
                        <a:pt x="28" y="29"/>
                        <a:pt x="28" y="29"/>
                        <a:pt x="28" y="29"/>
                      </a:cubicBezTo>
                      <a:cubicBezTo>
                        <a:pt x="26" y="34"/>
                        <a:pt x="26" y="34"/>
                        <a:pt x="26" y="34"/>
                      </a:cubicBezTo>
                      <a:cubicBezTo>
                        <a:pt x="51" y="49"/>
                        <a:pt x="51" y="49"/>
                        <a:pt x="51" y="49"/>
                      </a:cubicBezTo>
                      <a:cubicBezTo>
                        <a:pt x="53" y="46"/>
                        <a:pt x="53" y="46"/>
                        <a:pt x="53" y="46"/>
                      </a:cubicBezTo>
                      <a:cubicBezTo>
                        <a:pt x="55" y="44"/>
                        <a:pt x="59" y="42"/>
                        <a:pt x="63" y="42"/>
                      </a:cubicBezTo>
                      <a:cubicBezTo>
                        <a:pt x="70" y="42"/>
                        <a:pt x="77" y="48"/>
                        <a:pt x="77" y="56"/>
                      </a:cubicBezTo>
                      <a:cubicBezTo>
                        <a:pt x="77" y="64"/>
                        <a:pt x="70" y="70"/>
                        <a:pt x="63" y="70"/>
                      </a:cubicBezTo>
                      <a:cubicBezTo>
                        <a:pt x="55" y="70"/>
                        <a:pt x="49" y="64"/>
                        <a:pt x="49" y="56"/>
                      </a:cubicBezTo>
                      <a:cubicBezTo>
                        <a:pt x="49" y="55"/>
                        <a:pt x="49" y="55"/>
                        <a:pt x="49" y="55"/>
                      </a:cubicBezTo>
                      <a:cubicBezTo>
                        <a:pt x="23" y="40"/>
                        <a:pt x="23" y="40"/>
                        <a:pt x="23" y="40"/>
                      </a:cubicBezTo>
                      <a:cubicBezTo>
                        <a:pt x="20" y="42"/>
                        <a:pt x="20" y="42"/>
                        <a:pt x="20" y="42"/>
                      </a:cubicBezTo>
                      <a:cubicBezTo>
                        <a:pt x="18" y="43"/>
                        <a:pt x="16" y="43"/>
                        <a:pt x="14" y="43"/>
                      </a:cubicBezTo>
                      <a:cubicBezTo>
                        <a:pt x="6" y="43"/>
                        <a:pt x="0" y="37"/>
                        <a:pt x="0" y="29"/>
                      </a:cubicBezTo>
                      <a:cubicBezTo>
                        <a:pt x="0" y="21"/>
                        <a:pt x="6" y="15"/>
                        <a:pt x="14" y="15"/>
                      </a:cubicBezTo>
                      <a:cubicBezTo>
                        <a:pt x="18" y="15"/>
                        <a:pt x="22" y="17"/>
                        <a:pt x="24" y="19"/>
                      </a:cubicBezTo>
                      <a:cubicBezTo>
                        <a:pt x="26" y="21"/>
                        <a:pt x="26" y="21"/>
                        <a:pt x="26" y="21"/>
                      </a:cubicBezTo>
                      <a:cubicBezTo>
                        <a:pt x="52" y="12"/>
                        <a:pt x="52" y="12"/>
                        <a:pt x="52" y="12"/>
                      </a:cubicBezTo>
                      <a:cubicBezTo>
                        <a:pt x="53" y="8"/>
                        <a:pt x="53" y="8"/>
                        <a:pt x="53" y="8"/>
                      </a:cubicBezTo>
                      <a:cubicBezTo>
                        <a:pt x="55" y="3"/>
                        <a:pt x="60" y="0"/>
                        <a:pt x="66" y="0"/>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nvGrpSpPr>
            <p:cNvPr id="483" name="Group 482"/>
            <p:cNvGrpSpPr/>
            <p:nvPr/>
          </p:nvGrpSpPr>
          <p:grpSpPr>
            <a:xfrm>
              <a:off x="10017033" y="6992917"/>
              <a:ext cx="1025875" cy="1000728"/>
              <a:chOff x="10273510" y="1738684"/>
              <a:chExt cx="841531" cy="820902"/>
            </a:xfrm>
          </p:grpSpPr>
          <p:sp>
            <p:nvSpPr>
              <p:cNvPr id="568" name="Rectangle 567"/>
              <p:cNvSpPr/>
              <p:nvPr/>
            </p:nvSpPr>
            <p:spPr>
              <a:xfrm>
                <a:off x="10273510" y="1738684"/>
                <a:ext cx="841531" cy="8209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grpSp>
            <p:nvGrpSpPr>
              <p:cNvPr id="569" name="Group 568"/>
              <p:cNvGrpSpPr/>
              <p:nvPr/>
            </p:nvGrpSpPr>
            <p:grpSpPr>
              <a:xfrm>
                <a:off x="10473163" y="1834016"/>
                <a:ext cx="411479" cy="660682"/>
                <a:chOff x="10938474" y="2288230"/>
                <a:chExt cx="582611" cy="911640"/>
              </a:xfrm>
            </p:grpSpPr>
            <p:grpSp>
              <p:nvGrpSpPr>
                <p:cNvPr id="570" name="Group 569"/>
                <p:cNvGrpSpPr/>
                <p:nvPr/>
              </p:nvGrpSpPr>
              <p:grpSpPr>
                <a:xfrm>
                  <a:off x="10938474" y="2401502"/>
                  <a:ext cx="466188" cy="798368"/>
                  <a:chOff x="10366130" y="4006415"/>
                  <a:chExt cx="466188" cy="798368"/>
                </a:xfrm>
              </p:grpSpPr>
              <p:sp>
                <p:nvSpPr>
                  <p:cNvPr id="586" name="Freeform 161"/>
                  <p:cNvSpPr>
                    <a:spLocks/>
                  </p:cNvSpPr>
                  <p:nvPr/>
                </p:nvSpPr>
                <p:spPr bwMode="auto">
                  <a:xfrm>
                    <a:off x="10366130" y="4006415"/>
                    <a:ext cx="466188" cy="798368"/>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87" name="Rectangle 162"/>
                  <p:cNvSpPr>
                    <a:spLocks noChangeArrowheads="1"/>
                  </p:cNvSpPr>
                  <p:nvPr/>
                </p:nvSpPr>
                <p:spPr bwMode="auto">
                  <a:xfrm>
                    <a:off x="10410800" y="4051085"/>
                    <a:ext cx="376037" cy="62862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88" name="Rectangle 163"/>
                  <p:cNvSpPr>
                    <a:spLocks noChangeArrowheads="1"/>
                  </p:cNvSpPr>
                  <p:nvPr/>
                </p:nvSpPr>
                <p:spPr bwMode="auto">
                  <a:xfrm>
                    <a:off x="10448972" y="4125805"/>
                    <a:ext cx="301317" cy="30131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89" name="Rectangle 164"/>
                  <p:cNvSpPr>
                    <a:spLocks noChangeArrowheads="1"/>
                  </p:cNvSpPr>
                  <p:nvPr/>
                </p:nvSpPr>
                <p:spPr bwMode="auto">
                  <a:xfrm>
                    <a:off x="10448972" y="4447426"/>
                    <a:ext cx="86091" cy="8690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90" name="Rectangle 165"/>
                  <p:cNvSpPr>
                    <a:spLocks noChangeArrowheads="1"/>
                  </p:cNvSpPr>
                  <p:nvPr/>
                </p:nvSpPr>
                <p:spPr bwMode="auto">
                  <a:xfrm>
                    <a:off x="10556179" y="4447426"/>
                    <a:ext cx="86091" cy="8690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91" name="Rectangle 166"/>
                  <p:cNvSpPr>
                    <a:spLocks noChangeArrowheads="1"/>
                  </p:cNvSpPr>
                  <p:nvPr/>
                </p:nvSpPr>
                <p:spPr bwMode="auto">
                  <a:xfrm>
                    <a:off x="10663386" y="4447426"/>
                    <a:ext cx="86903" cy="8690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92" name="Rectangle 167"/>
                  <p:cNvSpPr>
                    <a:spLocks noChangeArrowheads="1"/>
                  </p:cNvSpPr>
                  <p:nvPr/>
                </p:nvSpPr>
                <p:spPr bwMode="auto">
                  <a:xfrm>
                    <a:off x="10448972" y="4555445"/>
                    <a:ext cx="301317" cy="860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grpSp>
            <p:grpSp>
              <p:nvGrpSpPr>
                <p:cNvPr id="571" name="Group 570"/>
                <p:cNvGrpSpPr/>
                <p:nvPr/>
              </p:nvGrpSpPr>
              <p:grpSpPr>
                <a:xfrm>
                  <a:off x="11037277" y="2288230"/>
                  <a:ext cx="483808" cy="828670"/>
                  <a:chOff x="10375876" y="3286828"/>
                  <a:chExt cx="393093" cy="673293"/>
                </a:xfrm>
              </p:grpSpPr>
              <p:sp>
                <p:nvSpPr>
                  <p:cNvPr id="572" name="Freeform 148"/>
                  <p:cNvSpPr>
                    <a:spLocks/>
                  </p:cNvSpPr>
                  <p:nvPr/>
                </p:nvSpPr>
                <p:spPr bwMode="auto">
                  <a:xfrm>
                    <a:off x="10375876" y="3286828"/>
                    <a:ext cx="393093" cy="673293"/>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3" name="Rectangle 168"/>
                  <p:cNvSpPr>
                    <a:spLocks noChangeArrowheads="1"/>
                  </p:cNvSpPr>
                  <p:nvPr/>
                </p:nvSpPr>
                <p:spPr bwMode="auto">
                  <a:xfrm>
                    <a:off x="10412424" y="3325813"/>
                    <a:ext cx="318373" cy="5295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4" name="Rectangle 169"/>
                  <p:cNvSpPr>
                    <a:spLocks noChangeArrowheads="1"/>
                  </p:cNvSpPr>
                  <p:nvPr/>
                </p:nvSpPr>
                <p:spPr bwMode="auto">
                  <a:xfrm>
                    <a:off x="10444911" y="3389162"/>
                    <a:ext cx="163247" cy="16243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5" name="Rectangle 170"/>
                  <p:cNvSpPr>
                    <a:spLocks noChangeArrowheads="1"/>
                  </p:cNvSpPr>
                  <p:nvPr/>
                </p:nvSpPr>
                <p:spPr bwMode="auto">
                  <a:xfrm>
                    <a:off x="10625214" y="3479314"/>
                    <a:ext cx="73096" cy="722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6" name="Rectangle 171"/>
                  <p:cNvSpPr>
                    <a:spLocks noChangeArrowheads="1"/>
                  </p:cNvSpPr>
                  <p:nvPr/>
                </p:nvSpPr>
                <p:spPr bwMode="auto">
                  <a:xfrm>
                    <a:off x="10625214" y="3389162"/>
                    <a:ext cx="73096" cy="722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7" name="Rectangle 172"/>
                  <p:cNvSpPr>
                    <a:spLocks noChangeArrowheads="1"/>
                  </p:cNvSpPr>
                  <p:nvPr/>
                </p:nvSpPr>
                <p:spPr bwMode="auto">
                  <a:xfrm>
                    <a:off x="10625214" y="3659617"/>
                    <a:ext cx="73096" cy="7472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8" name="Rectangle 173"/>
                  <p:cNvSpPr>
                    <a:spLocks noChangeArrowheads="1"/>
                  </p:cNvSpPr>
                  <p:nvPr/>
                </p:nvSpPr>
                <p:spPr bwMode="auto">
                  <a:xfrm>
                    <a:off x="10535062" y="3659617"/>
                    <a:ext cx="73096" cy="7472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9" name="Rectangle 174"/>
                  <p:cNvSpPr>
                    <a:spLocks noChangeArrowheads="1"/>
                  </p:cNvSpPr>
                  <p:nvPr/>
                </p:nvSpPr>
                <p:spPr bwMode="auto">
                  <a:xfrm>
                    <a:off x="10444911" y="3659617"/>
                    <a:ext cx="73096" cy="7472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0" name="Rectangle 175"/>
                  <p:cNvSpPr>
                    <a:spLocks noChangeArrowheads="1"/>
                  </p:cNvSpPr>
                  <p:nvPr/>
                </p:nvSpPr>
                <p:spPr bwMode="auto">
                  <a:xfrm>
                    <a:off x="10444911" y="3569465"/>
                    <a:ext cx="73096" cy="722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1" name="Rectangle 176"/>
                  <p:cNvSpPr>
                    <a:spLocks noChangeArrowheads="1"/>
                  </p:cNvSpPr>
                  <p:nvPr/>
                </p:nvSpPr>
                <p:spPr bwMode="auto">
                  <a:xfrm>
                    <a:off x="10535062" y="3569465"/>
                    <a:ext cx="73096" cy="722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2" name="Rectangle 177"/>
                  <p:cNvSpPr>
                    <a:spLocks noChangeArrowheads="1"/>
                  </p:cNvSpPr>
                  <p:nvPr/>
                </p:nvSpPr>
                <p:spPr bwMode="auto">
                  <a:xfrm>
                    <a:off x="10625214" y="3569465"/>
                    <a:ext cx="73096" cy="722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3" name="Rectangle 178"/>
                  <p:cNvSpPr>
                    <a:spLocks noChangeArrowheads="1"/>
                  </p:cNvSpPr>
                  <p:nvPr/>
                </p:nvSpPr>
                <p:spPr bwMode="auto">
                  <a:xfrm>
                    <a:off x="10625214" y="3751392"/>
                    <a:ext cx="73096" cy="7309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4" name="Rectangle 179"/>
                  <p:cNvSpPr>
                    <a:spLocks noChangeArrowheads="1"/>
                  </p:cNvSpPr>
                  <p:nvPr/>
                </p:nvSpPr>
                <p:spPr bwMode="auto">
                  <a:xfrm>
                    <a:off x="10535062" y="3751392"/>
                    <a:ext cx="73096" cy="7309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5" name="Rectangle 180"/>
                  <p:cNvSpPr>
                    <a:spLocks noChangeArrowheads="1"/>
                  </p:cNvSpPr>
                  <p:nvPr/>
                </p:nvSpPr>
                <p:spPr bwMode="auto">
                  <a:xfrm>
                    <a:off x="10444911" y="3751392"/>
                    <a:ext cx="73096" cy="7309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grpSp>
          <p:nvGrpSpPr>
            <p:cNvPr id="484" name="Group 483"/>
            <p:cNvGrpSpPr/>
            <p:nvPr/>
          </p:nvGrpSpPr>
          <p:grpSpPr>
            <a:xfrm>
              <a:off x="11062069" y="6992916"/>
              <a:ext cx="1018140" cy="1001688"/>
              <a:chOff x="11146629" y="1737897"/>
              <a:chExt cx="835186" cy="821690"/>
            </a:xfrm>
          </p:grpSpPr>
          <p:sp>
            <p:nvSpPr>
              <p:cNvPr id="564" name="Rectangle 563"/>
              <p:cNvSpPr/>
              <p:nvPr/>
            </p:nvSpPr>
            <p:spPr>
              <a:xfrm>
                <a:off x="11146629" y="1737897"/>
                <a:ext cx="835186" cy="821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grpSp>
            <p:nvGrpSpPr>
              <p:cNvPr id="565" name="Group 564"/>
              <p:cNvGrpSpPr/>
              <p:nvPr/>
            </p:nvGrpSpPr>
            <p:grpSpPr>
              <a:xfrm>
                <a:off x="11328302" y="1917902"/>
                <a:ext cx="498726" cy="465946"/>
                <a:chOff x="10131652" y="3979813"/>
                <a:chExt cx="796500" cy="725203"/>
              </a:xfrm>
            </p:grpSpPr>
            <p:sp>
              <p:nvSpPr>
                <p:cNvPr id="566" name="Freeform 19"/>
                <p:cNvSpPr>
                  <a:spLocks/>
                </p:cNvSpPr>
                <p:nvPr/>
              </p:nvSpPr>
              <p:spPr bwMode="auto">
                <a:xfrm>
                  <a:off x="10131652" y="3979813"/>
                  <a:ext cx="562235" cy="368713"/>
                </a:xfrm>
                <a:custGeom>
                  <a:avLst/>
                  <a:gdLst>
                    <a:gd name="T0" fmla="*/ 165 w 197"/>
                    <a:gd name="T1" fmla="*/ 56 h 129"/>
                    <a:gd name="T2" fmla="*/ 165 w 197"/>
                    <a:gd name="T3" fmla="*/ 54 h 129"/>
                    <a:gd name="T4" fmla="*/ 111 w 197"/>
                    <a:gd name="T5" fmla="*/ 0 h 129"/>
                    <a:gd name="T6" fmla="*/ 66 w 197"/>
                    <a:gd name="T7" fmla="*/ 24 h 129"/>
                    <a:gd name="T8" fmla="*/ 51 w 197"/>
                    <a:gd name="T9" fmla="*/ 20 h 129"/>
                    <a:gd name="T10" fmla="*/ 34 w 197"/>
                    <a:gd name="T11" fmla="*/ 25 h 129"/>
                    <a:gd name="T12" fmla="*/ 20 w 197"/>
                    <a:gd name="T13" fmla="*/ 50 h 129"/>
                    <a:gd name="T14" fmla="*/ 0 w 197"/>
                    <a:gd name="T15" fmla="*/ 86 h 129"/>
                    <a:gd name="T16" fmla="*/ 38 w 197"/>
                    <a:gd name="T17" fmla="*/ 129 h 129"/>
                    <a:gd name="T18" fmla="*/ 43 w 197"/>
                    <a:gd name="T19" fmla="*/ 129 h 129"/>
                    <a:gd name="T20" fmla="*/ 47 w 197"/>
                    <a:gd name="T21" fmla="*/ 129 h 129"/>
                    <a:gd name="T22" fmla="*/ 136 w 197"/>
                    <a:gd name="T23" fmla="*/ 129 h 129"/>
                    <a:gd name="T24" fmla="*/ 138 w 197"/>
                    <a:gd name="T25" fmla="*/ 129 h 129"/>
                    <a:gd name="T26" fmla="*/ 140 w 197"/>
                    <a:gd name="T27" fmla="*/ 129 h 129"/>
                    <a:gd name="T28" fmla="*/ 146 w 197"/>
                    <a:gd name="T29" fmla="*/ 129 h 129"/>
                    <a:gd name="T30" fmla="*/ 160 w 197"/>
                    <a:gd name="T31" fmla="*/ 129 h 129"/>
                    <a:gd name="T32" fmla="*/ 197 w 197"/>
                    <a:gd name="T33" fmla="*/ 92 h 129"/>
                    <a:gd name="T34" fmla="*/ 165 w 197"/>
                    <a:gd name="T35" fmla="*/ 5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 h="129">
                      <a:moveTo>
                        <a:pt x="165" y="56"/>
                      </a:moveTo>
                      <a:cubicBezTo>
                        <a:pt x="165" y="56"/>
                        <a:pt x="165" y="54"/>
                        <a:pt x="165" y="54"/>
                      </a:cubicBezTo>
                      <a:cubicBezTo>
                        <a:pt x="165" y="24"/>
                        <a:pt x="141" y="0"/>
                        <a:pt x="111" y="0"/>
                      </a:cubicBezTo>
                      <a:cubicBezTo>
                        <a:pt x="92" y="0"/>
                        <a:pt x="76" y="9"/>
                        <a:pt x="66" y="24"/>
                      </a:cubicBezTo>
                      <a:cubicBezTo>
                        <a:pt x="62" y="21"/>
                        <a:pt x="57" y="20"/>
                        <a:pt x="51" y="20"/>
                      </a:cubicBezTo>
                      <a:cubicBezTo>
                        <a:pt x="45" y="20"/>
                        <a:pt x="39" y="22"/>
                        <a:pt x="34" y="25"/>
                      </a:cubicBezTo>
                      <a:cubicBezTo>
                        <a:pt x="25" y="31"/>
                        <a:pt x="20" y="40"/>
                        <a:pt x="20" y="50"/>
                      </a:cubicBezTo>
                      <a:cubicBezTo>
                        <a:pt x="8" y="58"/>
                        <a:pt x="0" y="71"/>
                        <a:pt x="0" y="86"/>
                      </a:cubicBezTo>
                      <a:cubicBezTo>
                        <a:pt x="0" y="108"/>
                        <a:pt x="17" y="126"/>
                        <a:pt x="38" y="129"/>
                      </a:cubicBezTo>
                      <a:cubicBezTo>
                        <a:pt x="40" y="129"/>
                        <a:pt x="41" y="129"/>
                        <a:pt x="43" y="129"/>
                      </a:cubicBezTo>
                      <a:cubicBezTo>
                        <a:pt x="44" y="129"/>
                        <a:pt x="46" y="129"/>
                        <a:pt x="47" y="129"/>
                      </a:cubicBezTo>
                      <a:cubicBezTo>
                        <a:pt x="67" y="129"/>
                        <a:pt x="114" y="129"/>
                        <a:pt x="136" y="129"/>
                      </a:cubicBezTo>
                      <a:cubicBezTo>
                        <a:pt x="136" y="129"/>
                        <a:pt x="137" y="129"/>
                        <a:pt x="138" y="129"/>
                      </a:cubicBezTo>
                      <a:cubicBezTo>
                        <a:pt x="140" y="129"/>
                        <a:pt x="140" y="129"/>
                        <a:pt x="140" y="129"/>
                      </a:cubicBezTo>
                      <a:cubicBezTo>
                        <a:pt x="141" y="129"/>
                        <a:pt x="144" y="129"/>
                        <a:pt x="146" y="129"/>
                      </a:cubicBezTo>
                      <a:cubicBezTo>
                        <a:pt x="160" y="129"/>
                        <a:pt x="160" y="129"/>
                        <a:pt x="160" y="129"/>
                      </a:cubicBezTo>
                      <a:cubicBezTo>
                        <a:pt x="181" y="129"/>
                        <a:pt x="197" y="112"/>
                        <a:pt x="197" y="92"/>
                      </a:cubicBezTo>
                      <a:cubicBezTo>
                        <a:pt x="197" y="74"/>
                        <a:pt x="183" y="59"/>
                        <a:pt x="165"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67" name="Freeform 20"/>
                <p:cNvSpPr>
                  <a:spLocks/>
                </p:cNvSpPr>
                <p:nvPr/>
              </p:nvSpPr>
              <p:spPr bwMode="auto">
                <a:xfrm>
                  <a:off x="10170357" y="4205930"/>
                  <a:ext cx="757795" cy="499086"/>
                </a:xfrm>
                <a:custGeom>
                  <a:avLst/>
                  <a:gdLst>
                    <a:gd name="T0" fmla="*/ 223 w 266"/>
                    <a:gd name="T1" fmla="*/ 77 h 175"/>
                    <a:gd name="T2" fmla="*/ 223 w 266"/>
                    <a:gd name="T3" fmla="*/ 74 h 175"/>
                    <a:gd name="T4" fmla="*/ 150 w 266"/>
                    <a:gd name="T5" fmla="*/ 0 h 175"/>
                    <a:gd name="T6" fmla="*/ 89 w 266"/>
                    <a:gd name="T7" fmla="*/ 33 h 175"/>
                    <a:gd name="T8" fmla="*/ 69 w 266"/>
                    <a:gd name="T9" fmla="*/ 28 h 175"/>
                    <a:gd name="T10" fmla="*/ 45 w 266"/>
                    <a:gd name="T11" fmla="*/ 35 h 175"/>
                    <a:gd name="T12" fmla="*/ 26 w 266"/>
                    <a:gd name="T13" fmla="*/ 69 h 175"/>
                    <a:gd name="T14" fmla="*/ 0 w 266"/>
                    <a:gd name="T15" fmla="*/ 118 h 175"/>
                    <a:gd name="T16" fmla="*/ 51 w 266"/>
                    <a:gd name="T17" fmla="*/ 175 h 175"/>
                    <a:gd name="T18" fmla="*/ 57 w 266"/>
                    <a:gd name="T19" fmla="*/ 175 h 175"/>
                    <a:gd name="T20" fmla="*/ 63 w 266"/>
                    <a:gd name="T21" fmla="*/ 175 h 175"/>
                    <a:gd name="T22" fmla="*/ 183 w 266"/>
                    <a:gd name="T23" fmla="*/ 175 h 175"/>
                    <a:gd name="T24" fmla="*/ 185 w 266"/>
                    <a:gd name="T25" fmla="*/ 175 h 175"/>
                    <a:gd name="T26" fmla="*/ 188 w 266"/>
                    <a:gd name="T27" fmla="*/ 175 h 175"/>
                    <a:gd name="T28" fmla="*/ 197 w 266"/>
                    <a:gd name="T29" fmla="*/ 175 h 175"/>
                    <a:gd name="T30" fmla="*/ 216 w 266"/>
                    <a:gd name="T31" fmla="*/ 175 h 175"/>
                    <a:gd name="T32" fmla="*/ 266 w 266"/>
                    <a:gd name="T33" fmla="*/ 126 h 175"/>
                    <a:gd name="T34" fmla="*/ 223 w 266"/>
                    <a:gd name="T35" fmla="*/ 7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6" h="175">
                      <a:moveTo>
                        <a:pt x="223" y="77"/>
                      </a:moveTo>
                      <a:cubicBezTo>
                        <a:pt x="223" y="76"/>
                        <a:pt x="223" y="75"/>
                        <a:pt x="223" y="74"/>
                      </a:cubicBezTo>
                      <a:cubicBezTo>
                        <a:pt x="223" y="33"/>
                        <a:pt x="190" y="0"/>
                        <a:pt x="150" y="0"/>
                      </a:cubicBezTo>
                      <a:cubicBezTo>
                        <a:pt x="124" y="0"/>
                        <a:pt x="102" y="14"/>
                        <a:pt x="89" y="33"/>
                      </a:cubicBezTo>
                      <a:cubicBezTo>
                        <a:pt x="83" y="30"/>
                        <a:pt x="76" y="28"/>
                        <a:pt x="69" y="28"/>
                      </a:cubicBezTo>
                      <a:cubicBezTo>
                        <a:pt x="60" y="28"/>
                        <a:pt x="52" y="30"/>
                        <a:pt x="45" y="35"/>
                      </a:cubicBezTo>
                      <a:cubicBezTo>
                        <a:pt x="34" y="42"/>
                        <a:pt x="27" y="55"/>
                        <a:pt x="26" y="69"/>
                      </a:cubicBezTo>
                      <a:cubicBezTo>
                        <a:pt x="11" y="80"/>
                        <a:pt x="0" y="98"/>
                        <a:pt x="0" y="118"/>
                      </a:cubicBezTo>
                      <a:cubicBezTo>
                        <a:pt x="0" y="147"/>
                        <a:pt x="22" y="172"/>
                        <a:pt x="51" y="175"/>
                      </a:cubicBezTo>
                      <a:cubicBezTo>
                        <a:pt x="53" y="175"/>
                        <a:pt x="56" y="175"/>
                        <a:pt x="57" y="175"/>
                      </a:cubicBezTo>
                      <a:cubicBezTo>
                        <a:pt x="59" y="175"/>
                        <a:pt x="61" y="175"/>
                        <a:pt x="63" y="175"/>
                      </a:cubicBezTo>
                      <a:cubicBezTo>
                        <a:pt x="90" y="175"/>
                        <a:pt x="153" y="175"/>
                        <a:pt x="183" y="175"/>
                      </a:cubicBezTo>
                      <a:cubicBezTo>
                        <a:pt x="184" y="175"/>
                        <a:pt x="185" y="175"/>
                        <a:pt x="185" y="175"/>
                      </a:cubicBezTo>
                      <a:cubicBezTo>
                        <a:pt x="188" y="175"/>
                        <a:pt x="188" y="175"/>
                        <a:pt x="188" y="175"/>
                      </a:cubicBezTo>
                      <a:cubicBezTo>
                        <a:pt x="190" y="175"/>
                        <a:pt x="194" y="175"/>
                        <a:pt x="197" y="175"/>
                      </a:cubicBezTo>
                      <a:cubicBezTo>
                        <a:pt x="216" y="175"/>
                        <a:pt x="216" y="175"/>
                        <a:pt x="216" y="175"/>
                      </a:cubicBezTo>
                      <a:cubicBezTo>
                        <a:pt x="244" y="175"/>
                        <a:pt x="266" y="153"/>
                        <a:pt x="266" y="126"/>
                      </a:cubicBezTo>
                      <a:cubicBezTo>
                        <a:pt x="266" y="101"/>
                        <a:pt x="247" y="81"/>
                        <a:pt x="223" y="7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nvGrpSpPr>
            <p:cNvPr id="485" name="Group 484"/>
            <p:cNvGrpSpPr/>
            <p:nvPr/>
          </p:nvGrpSpPr>
          <p:grpSpPr>
            <a:xfrm>
              <a:off x="10017034" y="8017582"/>
              <a:ext cx="1025875" cy="1001688"/>
              <a:chOff x="10279856" y="2776122"/>
              <a:chExt cx="841531" cy="821690"/>
            </a:xfrm>
          </p:grpSpPr>
          <p:sp>
            <p:nvSpPr>
              <p:cNvPr id="517" name="Rectangle 516"/>
              <p:cNvSpPr/>
              <p:nvPr/>
            </p:nvSpPr>
            <p:spPr>
              <a:xfrm>
                <a:off x="10279856" y="2776122"/>
                <a:ext cx="841531" cy="821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grpSp>
            <p:nvGrpSpPr>
              <p:cNvPr id="518" name="Group 517"/>
              <p:cNvGrpSpPr/>
              <p:nvPr/>
            </p:nvGrpSpPr>
            <p:grpSpPr>
              <a:xfrm>
                <a:off x="10408537" y="2871654"/>
                <a:ext cx="548040" cy="630626"/>
                <a:chOff x="7085032" y="5479932"/>
                <a:chExt cx="661604" cy="741921"/>
              </a:xfrm>
            </p:grpSpPr>
            <p:sp>
              <p:nvSpPr>
                <p:cNvPr id="519" name="Rectangle 696"/>
                <p:cNvSpPr>
                  <a:spLocks noChangeArrowheads="1"/>
                </p:cNvSpPr>
                <p:nvPr/>
              </p:nvSpPr>
              <p:spPr bwMode="auto">
                <a:xfrm>
                  <a:off x="7583494" y="5626007"/>
                  <a:ext cx="98889" cy="592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0" name="Freeform 697"/>
                <p:cNvSpPr>
                  <a:spLocks/>
                </p:cNvSpPr>
                <p:nvPr/>
              </p:nvSpPr>
              <p:spPr bwMode="auto">
                <a:xfrm>
                  <a:off x="7572451" y="5567778"/>
                  <a:ext cx="119470" cy="26103"/>
                </a:xfrm>
                <a:custGeom>
                  <a:avLst/>
                  <a:gdLst>
                    <a:gd name="T0" fmla="*/ 97 w 97"/>
                    <a:gd name="T1" fmla="*/ 16 h 21"/>
                    <a:gd name="T2" fmla="*/ 92 w 97"/>
                    <a:gd name="T3" fmla="*/ 21 h 21"/>
                    <a:gd name="T4" fmla="*/ 5 w 97"/>
                    <a:gd name="T5" fmla="*/ 21 h 21"/>
                    <a:gd name="T6" fmla="*/ 0 w 97"/>
                    <a:gd name="T7" fmla="*/ 16 h 21"/>
                    <a:gd name="T8" fmla="*/ 0 w 97"/>
                    <a:gd name="T9" fmla="*/ 5 h 21"/>
                    <a:gd name="T10" fmla="*/ 5 w 97"/>
                    <a:gd name="T11" fmla="*/ 0 h 21"/>
                    <a:gd name="T12" fmla="*/ 92 w 97"/>
                    <a:gd name="T13" fmla="*/ 0 h 21"/>
                    <a:gd name="T14" fmla="*/ 97 w 97"/>
                    <a:gd name="T15" fmla="*/ 5 h 21"/>
                    <a:gd name="T16" fmla="*/ 97 w 97"/>
                    <a:gd name="T17"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1">
                      <a:moveTo>
                        <a:pt x="97" y="16"/>
                      </a:moveTo>
                      <a:cubicBezTo>
                        <a:pt x="97" y="18"/>
                        <a:pt x="95" y="21"/>
                        <a:pt x="92" y="21"/>
                      </a:cubicBezTo>
                      <a:cubicBezTo>
                        <a:pt x="5" y="21"/>
                        <a:pt x="5" y="21"/>
                        <a:pt x="5" y="21"/>
                      </a:cubicBezTo>
                      <a:cubicBezTo>
                        <a:pt x="2" y="21"/>
                        <a:pt x="0" y="18"/>
                        <a:pt x="0" y="16"/>
                      </a:cubicBezTo>
                      <a:cubicBezTo>
                        <a:pt x="0" y="5"/>
                        <a:pt x="0" y="5"/>
                        <a:pt x="0" y="5"/>
                      </a:cubicBezTo>
                      <a:cubicBezTo>
                        <a:pt x="0" y="2"/>
                        <a:pt x="2" y="0"/>
                        <a:pt x="5" y="0"/>
                      </a:cubicBezTo>
                      <a:cubicBezTo>
                        <a:pt x="92" y="0"/>
                        <a:pt x="92" y="0"/>
                        <a:pt x="92" y="0"/>
                      </a:cubicBezTo>
                      <a:cubicBezTo>
                        <a:pt x="95" y="0"/>
                        <a:pt x="97" y="2"/>
                        <a:pt x="97" y="5"/>
                      </a:cubicBezTo>
                      <a:lnTo>
                        <a:pt x="97" y="16"/>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1" name="Rectangle 698"/>
                <p:cNvSpPr>
                  <a:spLocks noChangeArrowheads="1"/>
                </p:cNvSpPr>
                <p:nvPr/>
              </p:nvSpPr>
              <p:spPr bwMode="auto">
                <a:xfrm>
                  <a:off x="7570945" y="5661647"/>
                  <a:ext cx="120976" cy="53209"/>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2" name="Rectangle 699"/>
                <p:cNvSpPr>
                  <a:spLocks noChangeArrowheads="1"/>
                </p:cNvSpPr>
                <p:nvPr/>
              </p:nvSpPr>
              <p:spPr bwMode="auto">
                <a:xfrm>
                  <a:off x="7565925" y="5899082"/>
                  <a:ext cx="132522" cy="43672"/>
                </a:xfrm>
                <a:prstGeom prst="rect">
                  <a:avLst/>
                </a:prstGeom>
                <a:solidFill>
                  <a:srgbClr val="213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3" name="Rectangle 700"/>
                <p:cNvSpPr>
                  <a:spLocks noChangeArrowheads="1"/>
                </p:cNvSpPr>
                <p:nvPr/>
              </p:nvSpPr>
              <p:spPr bwMode="auto">
                <a:xfrm>
                  <a:off x="7565925" y="5899082"/>
                  <a:ext cx="34637" cy="286127"/>
                </a:xfrm>
                <a:prstGeom prst="rect">
                  <a:avLst/>
                </a:prstGeom>
                <a:solidFill>
                  <a:srgbClr val="213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4" name="Freeform 701"/>
                <p:cNvSpPr>
                  <a:spLocks/>
                </p:cNvSpPr>
                <p:nvPr/>
              </p:nvSpPr>
              <p:spPr bwMode="auto">
                <a:xfrm>
                  <a:off x="7521751" y="6181193"/>
                  <a:ext cx="78810" cy="40660"/>
                </a:xfrm>
                <a:custGeom>
                  <a:avLst/>
                  <a:gdLst>
                    <a:gd name="T0" fmla="*/ 36 w 64"/>
                    <a:gd name="T1" fmla="*/ 0 h 33"/>
                    <a:gd name="T2" fmla="*/ 0 w 64"/>
                    <a:gd name="T3" fmla="*/ 33 h 33"/>
                    <a:gd name="T4" fmla="*/ 36 w 64"/>
                    <a:gd name="T5" fmla="*/ 33 h 33"/>
                    <a:gd name="T6" fmla="*/ 64 w 64"/>
                    <a:gd name="T7" fmla="*/ 33 h 33"/>
                    <a:gd name="T8" fmla="*/ 64 w 64"/>
                    <a:gd name="T9" fmla="*/ 0 h 33"/>
                    <a:gd name="T10" fmla="*/ 36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36" y="0"/>
                      </a:moveTo>
                      <a:cubicBezTo>
                        <a:pt x="17" y="0"/>
                        <a:pt x="1" y="14"/>
                        <a:pt x="0" y="33"/>
                      </a:cubicBezTo>
                      <a:cubicBezTo>
                        <a:pt x="36" y="33"/>
                        <a:pt x="36" y="33"/>
                        <a:pt x="36" y="33"/>
                      </a:cubicBezTo>
                      <a:cubicBezTo>
                        <a:pt x="64" y="33"/>
                        <a:pt x="64" y="33"/>
                        <a:pt x="64" y="33"/>
                      </a:cubicBezTo>
                      <a:cubicBezTo>
                        <a:pt x="64" y="0"/>
                        <a:pt x="64" y="0"/>
                        <a:pt x="64" y="0"/>
                      </a:cubicBezTo>
                      <a:lnTo>
                        <a:pt x="36" y="0"/>
                      </a:ln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5" name="Rectangle 702"/>
                <p:cNvSpPr>
                  <a:spLocks noChangeArrowheads="1"/>
                </p:cNvSpPr>
                <p:nvPr/>
              </p:nvSpPr>
              <p:spPr bwMode="auto">
                <a:xfrm>
                  <a:off x="7663810" y="5899082"/>
                  <a:ext cx="34637" cy="286127"/>
                </a:xfrm>
                <a:prstGeom prst="rect">
                  <a:avLst/>
                </a:prstGeom>
                <a:solidFill>
                  <a:srgbClr val="213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6" name="Freeform 703"/>
                <p:cNvSpPr>
                  <a:spLocks/>
                </p:cNvSpPr>
                <p:nvPr/>
              </p:nvSpPr>
              <p:spPr bwMode="auto">
                <a:xfrm>
                  <a:off x="7619135" y="6181193"/>
                  <a:ext cx="79312" cy="40660"/>
                </a:xfrm>
                <a:custGeom>
                  <a:avLst/>
                  <a:gdLst>
                    <a:gd name="T0" fmla="*/ 36 w 64"/>
                    <a:gd name="T1" fmla="*/ 0 h 33"/>
                    <a:gd name="T2" fmla="*/ 0 w 64"/>
                    <a:gd name="T3" fmla="*/ 33 h 33"/>
                    <a:gd name="T4" fmla="*/ 36 w 64"/>
                    <a:gd name="T5" fmla="*/ 33 h 33"/>
                    <a:gd name="T6" fmla="*/ 64 w 64"/>
                    <a:gd name="T7" fmla="*/ 33 h 33"/>
                    <a:gd name="T8" fmla="*/ 64 w 64"/>
                    <a:gd name="T9" fmla="*/ 0 h 33"/>
                    <a:gd name="T10" fmla="*/ 36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36" y="0"/>
                      </a:moveTo>
                      <a:cubicBezTo>
                        <a:pt x="17" y="0"/>
                        <a:pt x="2" y="14"/>
                        <a:pt x="0" y="33"/>
                      </a:cubicBezTo>
                      <a:cubicBezTo>
                        <a:pt x="36" y="33"/>
                        <a:pt x="36" y="33"/>
                        <a:pt x="36" y="33"/>
                      </a:cubicBezTo>
                      <a:cubicBezTo>
                        <a:pt x="64" y="33"/>
                        <a:pt x="64" y="33"/>
                        <a:pt x="64" y="33"/>
                      </a:cubicBezTo>
                      <a:cubicBezTo>
                        <a:pt x="64" y="0"/>
                        <a:pt x="64" y="0"/>
                        <a:pt x="64" y="0"/>
                      </a:cubicBezTo>
                      <a:lnTo>
                        <a:pt x="36" y="0"/>
                      </a:ln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7" name="Rectangle 704"/>
                <p:cNvSpPr>
                  <a:spLocks noChangeArrowheads="1"/>
                </p:cNvSpPr>
                <p:nvPr/>
              </p:nvSpPr>
              <p:spPr bwMode="auto">
                <a:xfrm>
                  <a:off x="7704471" y="5750999"/>
                  <a:ext cx="36142" cy="211332"/>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8" name="Freeform 705"/>
                <p:cNvSpPr>
                  <a:spLocks/>
                </p:cNvSpPr>
                <p:nvPr/>
              </p:nvSpPr>
              <p:spPr bwMode="auto">
                <a:xfrm>
                  <a:off x="7704471" y="5926691"/>
                  <a:ext cx="36142" cy="71281"/>
                </a:xfrm>
                <a:custGeom>
                  <a:avLst/>
                  <a:gdLst>
                    <a:gd name="T0" fmla="*/ 0 w 29"/>
                    <a:gd name="T1" fmla="*/ 0 h 58"/>
                    <a:gd name="T2" fmla="*/ 0 w 29"/>
                    <a:gd name="T3" fmla="*/ 58 h 58"/>
                    <a:gd name="T4" fmla="*/ 29 w 29"/>
                    <a:gd name="T5" fmla="*/ 29 h 58"/>
                    <a:gd name="T6" fmla="*/ 0 w 29"/>
                    <a:gd name="T7" fmla="*/ 0 h 58"/>
                  </a:gdLst>
                  <a:ahLst/>
                  <a:cxnLst>
                    <a:cxn ang="0">
                      <a:pos x="T0" y="T1"/>
                    </a:cxn>
                    <a:cxn ang="0">
                      <a:pos x="T2" y="T3"/>
                    </a:cxn>
                    <a:cxn ang="0">
                      <a:pos x="T4" y="T5"/>
                    </a:cxn>
                    <a:cxn ang="0">
                      <a:pos x="T6" y="T7"/>
                    </a:cxn>
                  </a:cxnLst>
                  <a:rect l="0" t="0" r="r" b="b"/>
                  <a:pathLst>
                    <a:path w="29" h="58">
                      <a:moveTo>
                        <a:pt x="0" y="0"/>
                      </a:moveTo>
                      <a:cubicBezTo>
                        <a:pt x="0" y="58"/>
                        <a:pt x="0" y="58"/>
                        <a:pt x="0" y="58"/>
                      </a:cubicBezTo>
                      <a:cubicBezTo>
                        <a:pt x="16" y="58"/>
                        <a:pt x="29" y="45"/>
                        <a:pt x="29" y="29"/>
                      </a:cubicBezTo>
                      <a:cubicBezTo>
                        <a:pt x="29" y="13"/>
                        <a:pt x="16"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9" name="Rectangle 706"/>
                <p:cNvSpPr>
                  <a:spLocks noChangeArrowheads="1"/>
                </p:cNvSpPr>
                <p:nvPr/>
              </p:nvSpPr>
              <p:spPr bwMode="auto">
                <a:xfrm>
                  <a:off x="7523759" y="5750999"/>
                  <a:ext cx="36142" cy="211332"/>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0" name="Freeform 707"/>
                <p:cNvSpPr>
                  <a:spLocks/>
                </p:cNvSpPr>
                <p:nvPr/>
              </p:nvSpPr>
              <p:spPr bwMode="auto">
                <a:xfrm>
                  <a:off x="7523759" y="5926691"/>
                  <a:ext cx="36142" cy="71281"/>
                </a:xfrm>
                <a:custGeom>
                  <a:avLst/>
                  <a:gdLst>
                    <a:gd name="T0" fmla="*/ 29 w 29"/>
                    <a:gd name="T1" fmla="*/ 0 h 58"/>
                    <a:gd name="T2" fmla="*/ 29 w 29"/>
                    <a:gd name="T3" fmla="*/ 58 h 58"/>
                    <a:gd name="T4" fmla="*/ 0 w 29"/>
                    <a:gd name="T5" fmla="*/ 29 h 58"/>
                    <a:gd name="T6" fmla="*/ 29 w 29"/>
                    <a:gd name="T7" fmla="*/ 0 h 58"/>
                  </a:gdLst>
                  <a:ahLst/>
                  <a:cxnLst>
                    <a:cxn ang="0">
                      <a:pos x="T0" y="T1"/>
                    </a:cxn>
                    <a:cxn ang="0">
                      <a:pos x="T2" y="T3"/>
                    </a:cxn>
                    <a:cxn ang="0">
                      <a:pos x="T4" y="T5"/>
                    </a:cxn>
                    <a:cxn ang="0">
                      <a:pos x="T6" y="T7"/>
                    </a:cxn>
                  </a:cxnLst>
                  <a:rect l="0" t="0" r="r" b="b"/>
                  <a:pathLst>
                    <a:path w="29" h="58">
                      <a:moveTo>
                        <a:pt x="29" y="0"/>
                      </a:moveTo>
                      <a:cubicBezTo>
                        <a:pt x="29" y="58"/>
                        <a:pt x="29" y="58"/>
                        <a:pt x="29" y="58"/>
                      </a:cubicBezTo>
                      <a:cubicBezTo>
                        <a:pt x="13" y="58"/>
                        <a:pt x="0" y="45"/>
                        <a:pt x="0" y="29"/>
                      </a:cubicBezTo>
                      <a:cubicBezTo>
                        <a:pt x="0" y="13"/>
                        <a:pt x="13" y="0"/>
                        <a:pt x="2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1" name="Freeform 708"/>
                <p:cNvSpPr>
                  <a:spLocks/>
                </p:cNvSpPr>
                <p:nvPr/>
              </p:nvSpPr>
              <p:spPr bwMode="auto">
                <a:xfrm>
                  <a:off x="7610601" y="5613458"/>
                  <a:ext cx="42166" cy="69273"/>
                </a:xfrm>
                <a:custGeom>
                  <a:avLst/>
                  <a:gdLst>
                    <a:gd name="T0" fmla="*/ 42 w 84"/>
                    <a:gd name="T1" fmla="*/ 138 h 138"/>
                    <a:gd name="T2" fmla="*/ 0 w 84"/>
                    <a:gd name="T3" fmla="*/ 96 h 138"/>
                    <a:gd name="T4" fmla="*/ 0 w 84"/>
                    <a:gd name="T5" fmla="*/ 0 h 138"/>
                    <a:gd name="T6" fmla="*/ 84 w 84"/>
                    <a:gd name="T7" fmla="*/ 0 h 138"/>
                    <a:gd name="T8" fmla="*/ 84 w 84"/>
                    <a:gd name="T9" fmla="*/ 96 h 138"/>
                    <a:gd name="T10" fmla="*/ 42 w 84"/>
                    <a:gd name="T11" fmla="*/ 138 h 138"/>
                  </a:gdLst>
                  <a:ahLst/>
                  <a:cxnLst>
                    <a:cxn ang="0">
                      <a:pos x="T0" y="T1"/>
                    </a:cxn>
                    <a:cxn ang="0">
                      <a:pos x="T2" y="T3"/>
                    </a:cxn>
                    <a:cxn ang="0">
                      <a:pos x="T4" y="T5"/>
                    </a:cxn>
                    <a:cxn ang="0">
                      <a:pos x="T6" y="T7"/>
                    </a:cxn>
                    <a:cxn ang="0">
                      <a:pos x="T8" y="T9"/>
                    </a:cxn>
                    <a:cxn ang="0">
                      <a:pos x="T10" y="T11"/>
                    </a:cxn>
                  </a:cxnLst>
                  <a:rect l="0" t="0" r="r" b="b"/>
                  <a:pathLst>
                    <a:path w="84" h="138">
                      <a:moveTo>
                        <a:pt x="42" y="138"/>
                      </a:moveTo>
                      <a:lnTo>
                        <a:pt x="0" y="96"/>
                      </a:lnTo>
                      <a:lnTo>
                        <a:pt x="0" y="0"/>
                      </a:lnTo>
                      <a:lnTo>
                        <a:pt x="84" y="0"/>
                      </a:lnTo>
                      <a:lnTo>
                        <a:pt x="84" y="96"/>
                      </a:lnTo>
                      <a:lnTo>
                        <a:pt x="42" y="138"/>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2" name="Freeform 709"/>
                <p:cNvSpPr>
                  <a:spLocks/>
                </p:cNvSpPr>
                <p:nvPr/>
              </p:nvSpPr>
              <p:spPr bwMode="auto">
                <a:xfrm>
                  <a:off x="7610601" y="5613458"/>
                  <a:ext cx="42166" cy="36142"/>
                </a:xfrm>
                <a:custGeom>
                  <a:avLst/>
                  <a:gdLst>
                    <a:gd name="T0" fmla="*/ 0 w 34"/>
                    <a:gd name="T1" fmla="*/ 27 h 29"/>
                    <a:gd name="T2" fmla="*/ 17 w 34"/>
                    <a:gd name="T3" fmla="*/ 29 h 29"/>
                    <a:gd name="T4" fmla="*/ 34 w 34"/>
                    <a:gd name="T5" fmla="*/ 27 h 29"/>
                    <a:gd name="T6" fmla="*/ 34 w 34"/>
                    <a:gd name="T7" fmla="*/ 0 h 29"/>
                    <a:gd name="T8" fmla="*/ 0 w 34"/>
                    <a:gd name="T9" fmla="*/ 0 h 29"/>
                    <a:gd name="T10" fmla="*/ 0 w 34"/>
                    <a:gd name="T11" fmla="*/ 27 h 29"/>
                  </a:gdLst>
                  <a:ahLst/>
                  <a:cxnLst>
                    <a:cxn ang="0">
                      <a:pos x="T0" y="T1"/>
                    </a:cxn>
                    <a:cxn ang="0">
                      <a:pos x="T2" y="T3"/>
                    </a:cxn>
                    <a:cxn ang="0">
                      <a:pos x="T4" y="T5"/>
                    </a:cxn>
                    <a:cxn ang="0">
                      <a:pos x="T6" y="T7"/>
                    </a:cxn>
                    <a:cxn ang="0">
                      <a:pos x="T8" y="T9"/>
                    </a:cxn>
                    <a:cxn ang="0">
                      <a:pos x="T10" y="T11"/>
                    </a:cxn>
                  </a:cxnLst>
                  <a:rect l="0" t="0" r="r" b="b"/>
                  <a:pathLst>
                    <a:path w="34" h="29">
                      <a:moveTo>
                        <a:pt x="0" y="27"/>
                      </a:moveTo>
                      <a:cubicBezTo>
                        <a:pt x="6" y="28"/>
                        <a:pt x="11" y="29"/>
                        <a:pt x="17" y="29"/>
                      </a:cubicBezTo>
                      <a:cubicBezTo>
                        <a:pt x="23" y="29"/>
                        <a:pt x="29" y="28"/>
                        <a:pt x="34" y="27"/>
                      </a:cubicBezTo>
                      <a:cubicBezTo>
                        <a:pt x="34" y="0"/>
                        <a:pt x="34" y="0"/>
                        <a:pt x="34" y="0"/>
                      </a:cubicBezTo>
                      <a:cubicBezTo>
                        <a:pt x="0" y="0"/>
                        <a:pt x="0" y="0"/>
                        <a:pt x="0" y="0"/>
                      </a:cubicBezTo>
                      <a:lnTo>
                        <a:pt x="0" y="27"/>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3" name="Freeform 710"/>
                <p:cNvSpPr>
                  <a:spLocks/>
                </p:cNvSpPr>
                <p:nvPr/>
              </p:nvSpPr>
              <p:spPr bwMode="auto">
                <a:xfrm>
                  <a:off x="7581988" y="5501015"/>
                  <a:ext cx="100395" cy="67767"/>
                </a:xfrm>
                <a:custGeom>
                  <a:avLst/>
                  <a:gdLst>
                    <a:gd name="T0" fmla="*/ 40 w 81"/>
                    <a:gd name="T1" fmla="*/ 0 h 55"/>
                    <a:gd name="T2" fmla="*/ 0 w 81"/>
                    <a:gd name="T3" fmla="*/ 40 h 55"/>
                    <a:gd name="T4" fmla="*/ 0 w 81"/>
                    <a:gd name="T5" fmla="*/ 55 h 55"/>
                    <a:gd name="T6" fmla="*/ 81 w 81"/>
                    <a:gd name="T7" fmla="*/ 55 h 55"/>
                    <a:gd name="T8" fmla="*/ 81 w 81"/>
                    <a:gd name="T9" fmla="*/ 40 h 55"/>
                    <a:gd name="T10" fmla="*/ 40 w 81"/>
                    <a:gd name="T11" fmla="*/ 0 h 55"/>
                  </a:gdLst>
                  <a:ahLst/>
                  <a:cxnLst>
                    <a:cxn ang="0">
                      <a:pos x="T0" y="T1"/>
                    </a:cxn>
                    <a:cxn ang="0">
                      <a:pos x="T2" y="T3"/>
                    </a:cxn>
                    <a:cxn ang="0">
                      <a:pos x="T4" y="T5"/>
                    </a:cxn>
                    <a:cxn ang="0">
                      <a:pos x="T6" y="T7"/>
                    </a:cxn>
                    <a:cxn ang="0">
                      <a:pos x="T8" y="T9"/>
                    </a:cxn>
                    <a:cxn ang="0">
                      <a:pos x="T10" y="T11"/>
                    </a:cxn>
                  </a:cxnLst>
                  <a:rect l="0" t="0" r="r" b="b"/>
                  <a:pathLst>
                    <a:path w="81" h="55">
                      <a:moveTo>
                        <a:pt x="40" y="0"/>
                      </a:moveTo>
                      <a:cubicBezTo>
                        <a:pt x="18" y="0"/>
                        <a:pt x="0" y="18"/>
                        <a:pt x="0" y="40"/>
                      </a:cubicBezTo>
                      <a:cubicBezTo>
                        <a:pt x="0" y="55"/>
                        <a:pt x="0" y="55"/>
                        <a:pt x="0" y="55"/>
                      </a:cubicBezTo>
                      <a:cubicBezTo>
                        <a:pt x="81" y="55"/>
                        <a:pt x="81" y="55"/>
                        <a:pt x="81" y="55"/>
                      </a:cubicBezTo>
                      <a:cubicBezTo>
                        <a:pt x="81" y="40"/>
                        <a:pt x="81" y="40"/>
                        <a:pt x="81" y="40"/>
                      </a:cubicBezTo>
                      <a:cubicBezTo>
                        <a:pt x="81" y="18"/>
                        <a:pt x="63" y="0"/>
                        <a:pt x="4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4" name="Freeform 711"/>
                <p:cNvSpPr>
                  <a:spLocks/>
                </p:cNvSpPr>
                <p:nvPr/>
              </p:nvSpPr>
              <p:spPr bwMode="auto">
                <a:xfrm>
                  <a:off x="7583494" y="5548201"/>
                  <a:ext cx="98889" cy="93870"/>
                </a:xfrm>
                <a:custGeom>
                  <a:avLst/>
                  <a:gdLst>
                    <a:gd name="T0" fmla="*/ 0 w 80"/>
                    <a:gd name="T1" fmla="*/ 0 h 76"/>
                    <a:gd name="T2" fmla="*/ 0 w 80"/>
                    <a:gd name="T3" fmla="*/ 63 h 76"/>
                    <a:gd name="T4" fmla="*/ 0 w 80"/>
                    <a:gd name="T5" fmla="*/ 63 h 76"/>
                    <a:gd name="T6" fmla="*/ 39 w 80"/>
                    <a:gd name="T7" fmla="*/ 76 h 76"/>
                    <a:gd name="T8" fmla="*/ 79 w 80"/>
                    <a:gd name="T9" fmla="*/ 63 h 76"/>
                    <a:gd name="T10" fmla="*/ 80 w 80"/>
                    <a:gd name="T11" fmla="*/ 63 h 76"/>
                    <a:gd name="T12" fmla="*/ 80 w 80"/>
                    <a:gd name="T13" fmla="*/ 0 h 76"/>
                    <a:gd name="T14" fmla="*/ 0 w 80"/>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76">
                      <a:moveTo>
                        <a:pt x="0" y="0"/>
                      </a:moveTo>
                      <a:cubicBezTo>
                        <a:pt x="0" y="63"/>
                        <a:pt x="0" y="63"/>
                        <a:pt x="0" y="63"/>
                      </a:cubicBezTo>
                      <a:cubicBezTo>
                        <a:pt x="0" y="63"/>
                        <a:pt x="0" y="63"/>
                        <a:pt x="0" y="63"/>
                      </a:cubicBezTo>
                      <a:cubicBezTo>
                        <a:pt x="11" y="71"/>
                        <a:pt x="24" y="76"/>
                        <a:pt x="39" y="76"/>
                      </a:cubicBezTo>
                      <a:cubicBezTo>
                        <a:pt x="54" y="76"/>
                        <a:pt x="68" y="71"/>
                        <a:pt x="79" y="63"/>
                      </a:cubicBezTo>
                      <a:cubicBezTo>
                        <a:pt x="80" y="63"/>
                        <a:pt x="80" y="63"/>
                        <a:pt x="80" y="63"/>
                      </a:cubicBezTo>
                      <a:cubicBezTo>
                        <a:pt x="80" y="0"/>
                        <a:pt x="80" y="0"/>
                        <a:pt x="80"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5" name="Freeform 712"/>
                <p:cNvSpPr>
                  <a:spLocks/>
                </p:cNvSpPr>
                <p:nvPr/>
              </p:nvSpPr>
              <p:spPr bwMode="auto">
                <a:xfrm>
                  <a:off x="7583494" y="5501015"/>
                  <a:ext cx="69273" cy="74292"/>
                </a:xfrm>
                <a:custGeom>
                  <a:avLst/>
                  <a:gdLst>
                    <a:gd name="T0" fmla="*/ 56 w 56"/>
                    <a:gd name="T1" fmla="*/ 4 h 60"/>
                    <a:gd name="T2" fmla="*/ 40 w 56"/>
                    <a:gd name="T3" fmla="*/ 0 h 60"/>
                    <a:gd name="T4" fmla="*/ 0 w 56"/>
                    <a:gd name="T5" fmla="*/ 40 h 60"/>
                    <a:gd name="T6" fmla="*/ 0 w 56"/>
                    <a:gd name="T7" fmla="*/ 60 h 60"/>
                    <a:gd name="T8" fmla="*/ 56 w 56"/>
                    <a:gd name="T9" fmla="*/ 4 h 60"/>
                  </a:gdLst>
                  <a:ahLst/>
                  <a:cxnLst>
                    <a:cxn ang="0">
                      <a:pos x="T0" y="T1"/>
                    </a:cxn>
                    <a:cxn ang="0">
                      <a:pos x="T2" y="T3"/>
                    </a:cxn>
                    <a:cxn ang="0">
                      <a:pos x="T4" y="T5"/>
                    </a:cxn>
                    <a:cxn ang="0">
                      <a:pos x="T6" y="T7"/>
                    </a:cxn>
                    <a:cxn ang="0">
                      <a:pos x="T8" y="T9"/>
                    </a:cxn>
                  </a:cxnLst>
                  <a:rect l="0" t="0" r="r" b="b"/>
                  <a:pathLst>
                    <a:path w="56" h="60">
                      <a:moveTo>
                        <a:pt x="56" y="4"/>
                      </a:moveTo>
                      <a:cubicBezTo>
                        <a:pt x="51" y="2"/>
                        <a:pt x="46" y="0"/>
                        <a:pt x="40" y="0"/>
                      </a:cubicBezTo>
                      <a:cubicBezTo>
                        <a:pt x="18" y="0"/>
                        <a:pt x="0" y="18"/>
                        <a:pt x="0" y="40"/>
                      </a:cubicBezTo>
                      <a:cubicBezTo>
                        <a:pt x="0" y="60"/>
                        <a:pt x="0" y="60"/>
                        <a:pt x="0" y="60"/>
                      </a:cubicBezTo>
                      <a:cubicBezTo>
                        <a:pt x="29" y="57"/>
                        <a:pt x="53" y="33"/>
                        <a:pt x="56"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6" name="Freeform 713"/>
                <p:cNvSpPr>
                  <a:spLocks/>
                </p:cNvSpPr>
                <p:nvPr/>
              </p:nvSpPr>
              <p:spPr bwMode="auto">
                <a:xfrm>
                  <a:off x="7517735" y="5661647"/>
                  <a:ext cx="228901" cy="265043"/>
                </a:xfrm>
                <a:custGeom>
                  <a:avLst/>
                  <a:gdLst>
                    <a:gd name="T0" fmla="*/ 185 w 185"/>
                    <a:gd name="T1" fmla="*/ 72 h 214"/>
                    <a:gd name="T2" fmla="*/ 185 w 185"/>
                    <a:gd name="T3" fmla="*/ 39 h 214"/>
                    <a:gd name="T4" fmla="*/ 146 w 185"/>
                    <a:gd name="T5" fmla="*/ 0 h 214"/>
                    <a:gd name="T6" fmla="*/ 142 w 185"/>
                    <a:gd name="T7" fmla="*/ 0 h 214"/>
                    <a:gd name="T8" fmla="*/ 92 w 185"/>
                    <a:gd name="T9" fmla="*/ 34 h 214"/>
                    <a:gd name="T10" fmla="*/ 43 w 185"/>
                    <a:gd name="T11" fmla="*/ 0 h 214"/>
                    <a:gd name="T12" fmla="*/ 39 w 185"/>
                    <a:gd name="T13" fmla="*/ 0 h 214"/>
                    <a:gd name="T14" fmla="*/ 0 w 185"/>
                    <a:gd name="T15" fmla="*/ 39 h 214"/>
                    <a:gd name="T16" fmla="*/ 0 w 185"/>
                    <a:gd name="T17" fmla="*/ 72 h 214"/>
                    <a:gd name="T18" fmla="*/ 0 w 185"/>
                    <a:gd name="T19" fmla="*/ 214 h 214"/>
                    <a:gd name="T20" fmla="*/ 34 w 185"/>
                    <a:gd name="T21" fmla="*/ 214 h 214"/>
                    <a:gd name="T22" fmla="*/ 34 w 185"/>
                    <a:gd name="T23" fmla="*/ 72 h 214"/>
                    <a:gd name="T24" fmla="*/ 39 w 185"/>
                    <a:gd name="T25" fmla="*/ 72 h 214"/>
                    <a:gd name="T26" fmla="*/ 39 w 185"/>
                    <a:gd name="T27" fmla="*/ 192 h 214"/>
                    <a:gd name="T28" fmla="*/ 146 w 185"/>
                    <a:gd name="T29" fmla="*/ 192 h 214"/>
                    <a:gd name="T30" fmla="*/ 146 w 185"/>
                    <a:gd name="T31" fmla="*/ 72 h 214"/>
                    <a:gd name="T32" fmla="*/ 151 w 185"/>
                    <a:gd name="T33" fmla="*/ 72 h 214"/>
                    <a:gd name="T34" fmla="*/ 151 w 185"/>
                    <a:gd name="T35" fmla="*/ 214 h 214"/>
                    <a:gd name="T36" fmla="*/ 185 w 185"/>
                    <a:gd name="T37" fmla="*/ 214 h 214"/>
                    <a:gd name="T38" fmla="*/ 185 w 185"/>
                    <a:gd name="T39" fmla="*/ 7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5" h="214">
                      <a:moveTo>
                        <a:pt x="185" y="72"/>
                      </a:moveTo>
                      <a:cubicBezTo>
                        <a:pt x="185" y="39"/>
                        <a:pt x="185" y="39"/>
                        <a:pt x="185" y="39"/>
                      </a:cubicBezTo>
                      <a:cubicBezTo>
                        <a:pt x="185" y="18"/>
                        <a:pt x="167" y="0"/>
                        <a:pt x="146" y="0"/>
                      </a:cubicBezTo>
                      <a:cubicBezTo>
                        <a:pt x="142" y="0"/>
                        <a:pt x="142" y="0"/>
                        <a:pt x="142" y="0"/>
                      </a:cubicBezTo>
                      <a:cubicBezTo>
                        <a:pt x="134" y="20"/>
                        <a:pt x="115" y="34"/>
                        <a:pt x="92" y="34"/>
                      </a:cubicBezTo>
                      <a:cubicBezTo>
                        <a:pt x="70" y="34"/>
                        <a:pt x="51" y="20"/>
                        <a:pt x="43" y="0"/>
                      </a:cubicBezTo>
                      <a:cubicBezTo>
                        <a:pt x="39" y="0"/>
                        <a:pt x="39" y="0"/>
                        <a:pt x="39" y="0"/>
                      </a:cubicBezTo>
                      <a:cubicBezTo>
                        <a:pt x="17" y="0"/>
                        <a:pt x="0" y="18"/>
                        <a:pt x="0" y="39"/>
                      </a:cubicBezTo>
                      <a:cubicBezTo>
                        <a:pt x="0" y="72"/>
                        <a:pt x="0" y="72"/>
                        <a:pt x="0" y="72"/>
                      </a:cubicBezTo>
                      <a:cubicBezTo>
                        <a:pt x="0" y="214"/>
                        <a:pt x="0" y="214"/>
                        <a:pt x="0" y="214"/>
                      </a:cubicBezTo>
                      <a:cubicBezTo>
                        <a:pt x="34" y="214"/>
                        <a:pt x="34" y="214"/>
                        <a:pt x="34" y="214"/>
                      </a:cubicBezTo>
                      <a:cubicBezTo>
                        <a:pt x="34" y="72"/>
                        <a:pt x="34" y="72"/>
                        <a:pt x="34" y="72"/>
                      </a:cubicBezTo>
                      <a:cubicBezTo>
                        <a:pt x="39" y="72"/>
                        <a:pt x="39" y="72"/>
                        <a:pt x="39" y="72"/>
                      </a:cubicBezTo>
                      <a:cubicBezTo>
                        <a:pt x="39" y="192"/>
                        <a:pt x="39" y="192"/>
                        <a:pt x="39" y="192"/>
                      </a:cubicBezTo>
                      <a:cubicBezTo>
                        <a:pt x="146" y="192"/>
                        <a:pt x="146" y="192"/>
                        <a:pt x="146" y="192"/>
                      </a:cubicBezTo>
                      <a:cubicBezTo>
                        <a:pt x="146" y="72"/>
                        <a:pt x="146" y="72"/>
                        <a:pt x="146" y="72"/>
                      </a:cubicBezTo>
                      <a:cubicBezTo>
                        <a:pt x="151" y="72"/>
                        <a:pt x="151" y="72"/>
                        <a:pt x="151" y="72"/>
                      </a:cubicBezTo>
                      <a:cubicBezTo>
                        <a:pt x="151" y="214"/>
                        <a:pt x="151" y="214"/>
                        <a:pt x="151" y="214"/>
                      </a:cubicBezTo>
                      <a:cubicBezTo>
                        <a:pt x="185" y="214"/>
                        <a:pt x="185" y="214"/>
                        <a:pt x="185" y="214"/>
                      </a:cubicBezTo>
                      <a:cubicBezTo>
                        <a:pt x="185" y="72"/>
                        <a:pt x="185" y="72"/>
                        <a:pt x="185"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7" name="Freeform 726"/>
                <p:cNvSpPr>
                  <a:spLocks/>
                </p:cNvSpPr>
                <p:nvPr/>
              </p:nvSpPr>
              <p:spPr bwMode="auto">
                <a:xfrm>
                  <a:off x="7569941" y="5594884"/>
                  <a:ext cx="17067" cy="16063"/>
                </a:xfrm>
                <a:custGeom>
                  <a:avLst/>
                  <a:gdLst>
                    <a:gd name="T0" fmla="*/ 17 w 34"/>
                    <a:gd name="T1" fmla="*/ 0 h 32"/>
                    <a:gd name="T2" fmla="*/ 22 w 34"/>
                    <a:gd name="T3" fmla="*/ 10 h 32"/>
                    <a:gd name="T4" fmla="*/ 34 w 34"/>
                    <a:gd name="T5" fmla="*/ 12 h 32"/>
                    <a:gd name="T6" fmla="*/ 27 w 34"/>
                    <a:gd name="T7" fmla="*/ 22 h 32"/>
                    <a:gd name="T8" fmla="*/ 27 w 34"/>
                    <a:gd name="T9" fmla="*/ 32 h 32"/>
                    <a:gd name="T10" fmla="*/ 17 w 34"/>
                    <a:gd name="T11" fmla="*/ 27 h 32"/>
                    <a:gd name="T12" fmla="*/ 7 w 34"/>
                    <a:gd name="T13" fmla="*/ 32 h 32"/>
                    <a:gd name="T14" fmla="*/ 7 w 34"/>
                    <a:gd name="T15" fmla="*/ 22 h 32"/>
                    <a:gd name="T16" fmla="*/ 0 w 34"/>
                    <a:gd name="T17" fmla="*/ 12 h 32"/>
                    <a:gd name="T18" fmla="*/ 12 w 34"/>
                    <a:gd name="T19" fmla="*/ 10 h 32"/>
                    <a:gd name="T20" fmla="*/ 17 w 34"/>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2">
                      <a:moveTo>
                        <a:pt x="17" y="0"/>
                      </a:moveTo>
                      <a:lnTo>
                        <a:pt x="22" y="10"/>
                      </a:lnTo>
                      <a:lnTo>
                        <a:pt x="34" y="12"/>
                      </a:lnTo>
                      <a:lnTo>
                        <a:pt x="27" y="22"/>
                      </a:lnTo>
                      <a:lnTo>
                        <a:pt x="27" y="32"/>
                      </a:lnTo>
                      <a:lnTo>
                        <a:pt x="17" y="27"/>
                      </a:lnTo>
                      <a:lnTo>
                        <a:pt x="7" y="32"/>
                      </a:lnTo>
                      <a:lnTo>
                        <a:pt x="7" y="22"/>
                      </a:lnTo>
                      <a:lnTo>
                        <a:pt x="0" y="12"/>
                      </a:lnTo>
                      <a:lnTo>
                        <a:pt x="12" y="10"/>
                      </a:lnTo>
                      <a:lnTo>
                        <a:pt x="1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8" name="Oval 727"/>
                <p:cNvSpPr>
                  <a:spLocks noChangeArrowheads="1"/>
                </p:cNvSpPr>
                <p:nvPr/>
              </p:nvSpPr>
              <p:spPr bwMode="auto">
                <a:xfrm>
                  <a:off x="7595542" y="5581331"/>
                  <a:ext cx="9036" cy="85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9" name="Oval 728"/>
                <p:cNvSpPr>
                  <a:spLocks noChangeArrowheads="1"/>
                </p:cNvSpPr>
                <p:nvPr/>
              </p:nvSpPr>
              <p:spPr bwMode="auto">
                <a:xfrm>
                  <a:off x="7659795" y="5581331"/>
                  <a:ext cx="9036" cy="85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0" name="Freeform 729"/>
                <p:cNvSpPr>
                  <a:spLocks/>
                </p:cNvSpPr>
                <p:nvPr/>
              </p:nvSpPr>
              <p:spPr bwMode="auto">
                <a:xfrm>
                  <a:off x="7624154" y="5602414"/>
                  <a:ext cx="15059" cy="5020"/>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3"/>
                        <a:pt x="3" y="4"/>
                        <a:pt x="6" y="4"/>
                      </a:cubicBezTo>
                      <a:cubicBezTo>
                        <a:pt x="9" y="4"/>
                        <a:pt x="11" y="3"/>
                        <a:pt x="12" y="0"/>
                      </a:cubicBezTo>
                      <a:lnTo>
                        <a:pt x="0" y="0"/>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1" name="Freeform 730"/>
                <p:cNvSpPr>
                  <a:spLocks/>
                </p:cNvSpPr>
                <p:nvPr/>
              </p:nvSpPr>
              <p:spPr bwMode="auto">
                <a:xfrm>
                  <a:off x="7616625" y="5615967"/>
                  <a:ext cx="29617" cy="6024"/>
                </a:xfrm>
                <a:custGeom>
                  <a:avLst/>
                  <a:gdLst>
                    <a:gd name="T0" fmla="*/ 0 w 24"/>
                    <a:gd name="T1" fmla="*/ 0 h 5"/>
                    <a:gd name="T2" fmla="*/ 12 w 24"/>
                    <a:gd name="T3" fmla="*/ 5 h 5"/>
                    <a:gd name="T4" fmla="*/ 24 w 24"/>
                    <a:gd name="T5" fmla="*/ 0 h 5"/>
                  </a:gdLst>
                  <a:ahLst/>
                  <a:cxnLst>
                    <a:cxn ang="0">
                      <a:pos x="T0" y="T1"/>
                    </a:cxn>
                    <a:cxn ang="0">
                      <a:pos x="T2" y="T3"/>
                    </a:cxn>
                    <a:cxn ang="0">
                      <a:pos x="T4" y="T5"/>
                    </a:cxn>
                  </a:cxnLst>
                  <a:rect l="0" t="0" r="r" b="b"/>
                  <a:pathLst>
                    <a:path w="24" h="5">
                      <a:moveTo>
                        <a:pt x="0" y="0"/>
                      </a:moveTo>
                      <a:cubicBezTo>
                        <a:pt x="3" y="3"/>
                        <a:pt x="7" y="5"/>
                        <a:pt x="12" y="5"/>
                      </a:cubicBezTo>
                      <a:cubicBezTo>
                        <a:pt x="17" y="5"/>
                        <a:pt x="21" y="3"/>
                        <a:pt x="24" y="0"/>
                      </a:cubicBezTo>
                    </a:path>
                  </a:pathLst>
                </a:custGeom>
                <a:noFill/>
                <a:ln w="14288" cap="rnd">
                  <a:solidFill>
                    <a:srgbClr val="DD5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2" name="Freeform 731"/>
                <p:cNvSpPr>
                  <a:spLocks/>
                </p:cNvSpPr>
                <p:nvPr/>
              </p:nvSpPr>
              <p:spPr bwMode="auto">
                <a:xfrm>
                  <a:off x="7139245" y="5551714"/>
                  <a:ext cx="121478" cy="24597"/>
                </a:xfrm>
                <a:custGeom>
                  <a:avLst/>
                  <a:gdLst>
                    <a:gd name="T0" fmla="*/ 0 w 98"/>
                    <a:gd name="T1" fmla="*/ 15 h 20"/>
                    <a:gd name="T2" fmla="*/ 5 w 98"/>
                    <a:gd name="T3" fmla="*/ 20 h 20"/>
                    <a:gd name="T4" fmla="*/ 93 w 98"/>
                    <a:gd name="T5" fmla="*/ 20 h 20"/>
                    <a:gd name="T6" fmla="*/ 98 w 98"/>
                    <a:gd name="T7" fmla="*/ 15 h 20"/>
                    <a:gd name="T8" fmla="*/ 98 w 98"/>
                    <a:gd name="T9" fmla="*/ 4 h 20"/>
                    <a:gd name="T10" fmla="*/ 93 w 98"/>
                    <a:gd name="T11" fmla="*/ 0 h 20"/>
                    <a:gd name="T12" fmla="*/ 5 w 98"/>
                    <a:gd name="T13" fmla="*/ 0 h 20"/>
                    <a:gd name="T14" fmla="*/ 0 w 98"/>
                    <a:gd name="T15" fmla="*/ 4 h 20"/>
                    <a:gd name="T16" fmla="*/ 0 w 98"/>
                    <a:gd name="T17"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20">
                      <a:moveTo>
                        <a:pt x="0" y="15"/>
                      </a:moveTo>
                      <a:cubicBezTo>
                        <a:pt x="0" y="18"/>
                        <a:pt x="2" y="20"/>
                        <a:pt x="5" y="20"/>
                      </a:cubicBezTo>
                      <a:cubicBezTo>
                        <a:pt x="93" y="20"/>
                        <a:pt x="93" y="20"/>
                        <a:pt x="93" y="20"/>
                      </a:cubicBezTo>
                      <a:cubicBezTo>
                        <a:pt x="96" y="20"/>
                        <a:pt x="98" y="18"/>
                        <a:pt x="98" y="15"/>
                      </a:cubicBezTo>
                      <a:cubicBezTo>
                        <a:pt x="98" y="4"/>
                        <a:pt x="98" y="4"/>
                        <a:pt x="98" y="4"/>
                      </a:cubicBezTo>
                      <a:cubicBezTo>
                        <a:pt x="98" y="2"/>
                        <a:pt x="96" y="0"/>
                        <a:pt x="93" y="0"/>
                      </a:cubicBezTo>
                      <a:cubicBezTo>
                        <a:pt x="5" y="0"/>
                        <a:pt x="5" y="0"/>
                        <a:pt x="5" y="0"/>
                      </a:cubicBezTo>
                      <a:cubicBezTo>
                        <a:pt x="2" y="0"/>
                        <a:pt x="0" y="2"/>
                        <a:pt x="0" y="4"/>
                      </a:cubicBezTo>
                      <a:lnTo>
                        <a:pt x="0" y="15"/>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3" name="Freeform 732"/>
                <p:cNvSpPr>
                  <a:spLocks/>
                </p:cNvSpPr>
                <p:nvPr/>
              </p:nvSpPr>
              <p:spPr bwMode="auto">
                <a:xfrm>
                  <a:off x="7232111" y="6168644"/>
                  <a:ext cx="79312" cy="41162"/>
                </a:xfrm>
                <a:custGeom>
                  <a:avLst/>
                  <a:gdLst>
                    <a:gd name="T0" fmla="*/ 28 w 64"/>
                    <a:gd name="T1" fmla="*/ 0 h 33"/>
                    <a:gd name="T2" fmla="*/ 64 w 64"/>
                    <a:gd name="T3" fmla="*/ 33 h 33"/>
                    <a:gd name="T4" fmla="*/ 28 w 64"/>
                    <a:gd name="T5" fmla="*/ 33 h 33"/>
                    <a:gd name="T6" fmla="*/ 0 w 64"/>
                    <a:gd name="T7" fmla="*/ 33 h 33"/>
                    <a:gd name="T8" fmla="*/ 0 w 64"/>
                    <a:gd name="T9" fmla="*/ 0 h 33"/>
                    <a:gd name="T10" fmla="*/ 28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28" y="0"/>
                      </a:moveTo>
                      <a:cubicBezTo>
                        <a:pt x="47" y="0"/>
                        <a:pt x="63" y="14"/>
                        <a:pt x="64" y="33"/>
                      </a:cubicBezTo>
                      <a:cubicBezTo>
                        <a:pt x="28" y="33"/>
                        <a:pt x="28" y="33"/>
                        <a:pt x="28" y="33"/>
                      </a:cubicBezTo>
                      <a:cubicBezTo>
                        <a:pt x="0" y="33"/>
                        <a:pt x="0" y="33"/>
                        <a:pt x="0" y="33"/>
                      </a:cubicBezTo>
                      <a:cubicBezTo>
                        <a:pt x="0" y="0"/>
                        <a:pt x="0" y="0"/>
                        <a:pt x="0" y="0"/>
                      </a:cubicBezTo>
                      <a:lnTo>
                        <a:pt x="28"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4" name="Freeform 733"/>
                <p:cNvSpPr>
                  <a:spLocks/>
                </p:cNvSpPr>
                <p:nvPr/>
              </p:nvSpPr>
              <p:spPr bwMode="auto">
                <a:xfrm>
                  <a:off x="7133222" y="5884525"/>
                  <a:ext cx="133526" cy="288134"/>
                </a:xfrm>
                <a:custGeom>
                  <a:avLst/>
                  <a:gdLst>
                    <a:gd name="T0" fmla="*/ 0 w 266"/>
                    <a:gd name="T1" fmla="*/ 0 h 574"/>
                    <a:gd name="T2" fmla="*/ 0 w 266"/>
                    <a:gd name="T3" fmla="*/ 0 h 574"/>
                    <a:gd name="T4" fmla="*/ 69 w 266"/>
                    <a:gd name="T5" fmla="*/ 0 h 574"/>
                    <a:gd name="T6" fmla="*/ 197 w 266"/>
                    <a:gd name="T7" fmla="*/ 0 h 574"/>
                    <a:gd name="T8" fmla="*/ 266 w 266"/>
                    <a:gd name="T9" fmla="*/ 0 h 574"/>
                    <a:gd name="T10" fmla="*/ 266 w 266"/>
                    <a:gd name="T11" fmla="*/ 86 h 574"/>
                    <a:gd name="T12" fmla="*/ 266 w 266"/>
                    <a:gd name="T13" fmla="*/ 574 h 574"/>
                    <a:gd name="T14" fmla="*/ 197 w 266"/>
                    <a:gd name="T15" fmla="*/ 574 h 574"/>
                    <a:gd name="T16" fmla="*/ 197 w 266"/>
                    <a:gd name="T17" fmla="*/ 86 h 574"/>
                    <a:gd name="T18" fmla="*/ 69 w 266"/>
                    <a:gd name="T19" fmla="*/ 86 h 574"/>
                    <a:gd name="T20" fmla="*/ 69 w 266"/>
                    <a:gd name="T21" fmla="*/ 574 h 574"/>
                    <a:gd name="T22" fmla="*/ 0 w 266"/>
                    <a:gd name="T23" fmla="*/ 574 h 574"/>
                    <a:gd name="T24" fmla="*/ 0 w 266"/>
                    <a:gd name="T25" fmla="*/ 86 h 574"/>
                    <a:gd name="T26" fmla="*/ 0 w 266"/>
                    <a:gd name="T27" fmla="*/ 86 h 574"/>
                    <a:gd name="T28" fmla="*/ 0 w 266"/>
                    <a:gd name="T29"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6" h="574">
                      <a:moveTo>
                        <a:pt x="0" y="0"/>
                      </a:moveTo>
                      <a:lnTo>
                        <a:pt x="0" y="0"/>
                      </a:lnTo>
                      <a:lnTo>
                        <a:pt x="69" y="0"/>
                      </a:lnTo>
                      <a:lnTo>
                        <a:pt x="197" y="0"/>
                      </a:lnTo>
                      <a:lnTo>
                        <a:pt x="266" y="0"/>
                      </a:lnTo>
                      <a:lnTo>
                        <a:pt x="266" y="86"/>
                      </a:lnTo>
                      <a:lnTo>
                        <a:pt x="266" y="574"/>
                      </a:lnTo>
                      <a:lnTo>
                        <a:pt x="197" y="574"/>
                      </a:lnTo>
                      <a:lnTo>
                        <a:pt x="197" y="86"/>
                      </a:lnTo>
                      <a:lnTo>
                        <a:pt x="69" y="86"/>
                      </a:lnTo>
                      <a:lnTo>
                        <a:pt x="69" y="574"/>
                      </a:lnTo>
                      <a:lnTo>
                        <a:pt x="0" y="574"/>
                      </a:lnTo>
                      <a:lnTo>
                        <a:pt x="0" y="86"/>
                      </a:lnTo>
                      <a:lnTo>
                        <a:pt x="0" y="86"/>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5" name="Freeform 734"/>
                <p:cNvSpPr>
                  <a:spLocks/>
                </p:cNvSpPr>
                <p:nvPr/>
              </p:nvSpPr>
              <p:spPr bwMode="auto">
                <a:xfrm>
                  <a:off x="7133222" y="6168644"/>
                  <a:ext cx="79312" cy="41162"/>
                </a:xfrm>
                <a:custGeom>
                  <a:avLst/>
                  <a:gdLst>
                    <a:gd name="T0" fmla="*/ 28 w 64"/>
                    <a:gd name="T1" fmla="*/ 0 h 33"/>
                    <a:gd name="T2" fmla="*/ 64 w 64"/>
                    <a:gd name="T3" fmla="*/ 33 h 33"/>
                    <a:gd name="T4" fmla="*/ 28 w 64"/>
                    <a:gd name="T5" fmla="*/ 33 h 33"/>
                    <a:gd name="T6" fmla="*/ 0 w 64"/>
                    <a:gd name="T7" fmla="*/ 33 h 33"/>
                    <a:gd name="T8" fmla="*/ 0 w 64"/>
                    <a:gd name="T9" fmla="*/ 0 h 33"/>
                    <a:gd name="T10" fmla="*/ 28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28" y="0"/>
                      </a:moveTo>
                      <a:cubicBezTo>
                        <a:pt x="47" y="0"/>
                        <a:pt x="63" y="14"/>
                        <a:pt x="64" y="33"/>
                      </a:cubicBezTo>
                      <a:cubicBezTo>
                        <a:pt x="28" y="33"/>
                        <a:pt x="28" y="33"/>
                        <a:pt x="28" y="33"/>
                      </a:cubicBezTo>
                      <a:cubicBezTo>
                        <a:pt x="0" y="33"/>
                        <a:pt x="0" y="33"/>
                        <a:pt x="0" y="33"/>
                      </a:cubicBezTo>
                      <a:cubicBezTo>
                        <a:pt x="0" y="0"/>
                        <a:pt x="0" y="0"/>
                        <a:pt x="0" y="0"/>
                      </a:cubicBezTo>
                      <a:lnTo>
                        <a:pt x="28"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6" name="Freeform 735"/>
                <p:cNvSpPr>
                  <a:spLocks/>
                </p:cNvSpPr>
                <p:nvPr/>
              </p:nvSpPr>
              <p:spPr bwMode="auto">
                <a:xfrm>
                  <a:off x="7085032" y="5645584"/>
                  <a:ext cx="229905" cy="238941"/>
                </a:xfrm>
                <a:custGeom>
                  <a:avLst/>
                  <a:gdLst>
                    <a:gd name="T0" fmla="*/ 39 w 186"/>
                    <a:gd name="T1" fmla="*/ 0 h 193"/>
                    <a:gd name="T2" fmla="*/ 147 w 186"/>
                    <a:gd name="T3" fmla="*/ 0 h 193"/>
                    <a:gd name="T4" fmla="*/ 186 w 186"/>
                    <a:gd name="T5" fmla="*/ 39 h 193"/>
                    <a:gd name="T6" fmla="*/ 186 w 186"/>
                    <a:gd name="T7" fmla="*/ 73 h 193"/>
                    <a:gd name="T8" fmla="*/ 147 w 186"/>
                    <a:gd name="T9" fmla="*/ 73 h 193"/>
                    <a:gd name="T10" fmla="*/ 147 w 186"/>
                    <a:gd name="T11" fmla="*/ 193 h 193"/>
                    <a:gd name="T12" fmla="*/ 39 w 186"/>
                    <a:gd name="T13" fmla="*/ 193 h 193"/>
                    <a:gd name="T14" fmla="*/ 39 w 186"/>
                    <a:gd name="T15" fmla="*/ 73 h 193"/>
                    <a:gd name="T16" fmla="*/ 0 w 186"/>
                    <a:gd name="T17" fmla="*/ 73 h 193"/>
                    <a:gd name="T18" fmla="*/ 0 w 186"/>
                    <a:gd name="T19" fmla="*/ 39 h 193"/>
                    <a:gd name="T20" fmla="*/ 39 w 186"/>
                    <a:gd name="T21"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93">
                      <a:moveTo>
                        <a:pt x="39" y="0"/>
                      </a:moveTo>
                      <a:cubicBezTo>
                        <a:pt x="147" y="0"/>
                        <a:pt x="147" y="0"/>
                        <a:pt x="147" y="0"/>
                      </a:cubicBezTo>
                      <a:cubicBezTo>
                        <a:pt x="169" y="0"/>
                        <a:pt x="186" y="17"/>
                        <a:pt x="186" y="39"/>
                      </a:cubicBezTo>
                      <a:cubicBezTo>
                        <a:pt x="186" y="73"/>
                        <a:pt x="186" y="73"/>
                        <a:pt x="186" y="73"/>
                      </a:cubicBezTo>
                      <a:cubicBezTo>
                        <a:pt x="147" y="73"/>
                        <a:pt x="147" y="73"/>
                        <a:pt x="147" y="73"/>
                      </a:cubicBezTo>
                      <a:cubicBezTo>
                        <a:pt x="147" y="193"/>
                        <a:pt x="147" y="193"/>
                        <a:pt x="147" y="193"/>
                      </a:cubicBezTo>
                      <a:cubicBezTo>
                        <a:pt x="39" y="193"/>
                        <a:pt x="39" y="193"/>
                        <a:pt x="39" y="193"/>
                      </a:cubicBezTo>
                      <a:cubicBezTo>
                        <a:pt x="39" y="73"/>
                        <a:pt x="39" y="73"/>
                        <a:pt x="39" y="73"/>
                      </a:cubicBezTo>
                      <a:cubicBezTo>
                        <a:pt x="0" y="73"/>
                        <a:pt x="0" y="73"/>
                        <a:pt x="0" y="73"/>
                      </a:cubicBezTo>
                      <a:cubicBezTo>
                        <a:pt x="0" y="39"/>
                        <a:pt x="0" y="39"/>
                        <a:pt x="0" y="39"/>
                      </a:cubicBezTo>
                      <a:cubicBezTo>
                        <a:pt x="0" y="17"/>
                        <a:pt x="17" y="0"/>
                        <a:pt x="39"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7" name="Freeform 736"/>
                <p:cNvSpPr>
                  <a:spLocks/>
                </p:cNvSpPr>
                <p:nvPr/>
              </p:nvSpPr>
              <p:spPr bwMode="auto">
                <a:xfrm>
                  <a:off x="7272771" y="5735940"/>
                  <a:ext cx="81822" cy="122482"/>
                </a:xfrm>
                <a:custGeom>
                  <a:avLst/>
                  <a:gdLst>
                    <a:gd name="T0" fmla="*/ 25 w 66"/>
                    <a:gd name="T1" fmla="*/ 99 h 99"/>
                    <a:gd name="T2" fmla="*/ 66 w 66"/>
                    <a:gd name="T3" fmla="*/ 99 h 99"/>
                    <a:gd name="T4" fmla="*/ 66 w 66"/>
                    <a:gd name="T5" fmla="*/ 70 h 99"/>
                    <a:gd name="T6" fmla="*/ 29 w 66"/>
                    <a:gd name="T7" fmla="*/ 70 h 99"/>
                    <a:gd name="T8" fmla="*/ 29 w 66"/>
                    <a:gd name="T9" fmla="*/ 0 h 99"/>
                    <a:gd name="T10" fmla="*/ 0 w 66"/>
                    <a:gd name="T11" fmla="*/ 0 h 99"/>
                    <a:gd name="T12" fmla="*/ 0 w 66"/>
                    <a:gd name="T13" fmla="*/ 74 h 99"/>
                    <a:gd name="T14" fmla="*/ 25 w 66"/>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9">
                      <a:moveTo>
                        <a:pt x="25" y="99"/>
                      </a:moveTo>
                      <a:cubicBezTo>
                        <a:pt x="66" y="99"/>
                        <a:pt x="66" y="99"/>
                        <a:pt x="66" y="99"/>
                      </a:cubicBezTo>
                      <a:cubicBezTo>
                        <a:pt x="66" y="70"/>
                        <a:pt x="66" y="70"/>
                        <a:pt x="66" y="70"/>
                      </a:cubicBezTo>
                      <a:cubicBezTo>
                        <a:pt x="29" y="70"/>
                        <a:pt x="29" y="70"/>
                        <a:pt x="29" y="70"/>
                      </a:cubicBezTo>
                      <a:cubicBezTo>
                        <a:pt x="29" y="0"/>
                        <a:pt x="29" y="0"/>
                        <a:pt x="29" y="0"/>
                      </a:cubicBezTo>
                      <a:cubicBezTo>
                        <a:pt x="0" y="0"/>
                        <a:pt x="0" y="0"/>
                        <a:pt x="0" y="0"/>
                      </a:cubicBezTo>
                      <a:cubicBezTo>
                        <a:pt x="0" y="74"/>
                        <a:pt x="0" y="74"/>
                        <a:pt x="0" y="74"/>
                      </a:cubicBezTo>
                      <a:cubicBezTo>
                        <a:pt x="0" y="88"/>
                        <a:pt x="11" y="99"/>
                        <a:pt x="25" y="99"/>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8" name="Rectangle 737"/>
                <p:cNvSpPr>
                  <a:spLocks noChangeArrowheads="1"/>
                </p:cNvSpPr>
                <p:nvPr/>
              </p:nvSpPr>
              <p:spPr bwMode="auto">
                <a:xfrm>
                  <a:off x="7091056" y="5735940"/>
                  <a:ext cx="36142" cy="212838"/>
                </a:xfrm>
                <a:prstGeom prst="rect">
                  <a:avLst/>
                </a:prstGeom>
                <a:solidFill>
                  <a:srgbClr val="6D5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9" name="Freeform 738"/>
                <p:cNvSpPr>
                  <a:spLocks/>
                </p:cNvSpPr>
                <p:nvPr/>
              </p:nvSpPr>
              <p:spPr bwMode="auto">
                <a:xfrm>
                  <a:off x="7090052" y="5912636"/>
                  <a:ext cx="37146" cy="71783"/>
                </a:xfrm>
                <a:custGeom>
                  <a:avLst/>
                  <a:gdLst>
                    <a:gd name="T0" fmla="*/ 30 w 30"/>
                    <a:gd name="T1" fmla="*/ 0 h 58"/>
                    <a:gd name="T2" fmla="*/ 30 w 30"/>
                    <a:gd name="T3" fmla="*/ 58 h 58"/>
                    <a:gd name="T4" fmla="*/ 0 w 30"/>
                    <a:gd name="T5" fmla="*/ 29 h 58"/>
                    <a:gd name="T6" fmla="*/ 30 w 30"/>
                    <a:gd name="T7" fmla="*/ 0 h 58"/>
                  </a:gdLst>
                  <a:ahLst/>
                  <a:cxnLst>
                    <a:cxn ang="0">
                      <a:pos x="T0" y="T1"/>
                    </a:cxn>
                    <a:cxn ang="0">
                      <a:pos x="T2" y="T3"/>
                    </a:cxn>
                    <a:cxn ang="0">
                      <a:pos x="T4" y="T5"/>
                    </a:cxn>
                    <a:cxn ang="0">
                      <a:pos x="T6" y="T7"/>
                    </a:cxn>
                  </a:cxnLst>
                  <a:rect l="0" t="0" r="r" b="b"/>
                  <a:pathLst>
                    <a:path w="30" h="58">
                      <a:moveTo>
                        <a:pt x="30" y="0"/>
                      </a:moveTo>
                      <a:cubicBezTo>
                        <a:pt x="30" y="58"/>
                        <a:pt x="30" y="58"/>
                        <a:pt x="30" y="58"/>
                      </a:cubicBezTo>
                      <a:cubicBezTo>
                        <a:pt x="14" y="58"/>
                        <a:pt x="0" y="45"/>
                        <a:pt x="0" y="29"/>
                      </a:cubicBezTo>
                      <a:cubicBezTo>
                        <a:pt x="0" y="13"/>
                        <a:pt x="14" y="0"/>
                        <a:pt x="30"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0" name="Freeform 739"/>
                <p:cNvSpPr>
                  <a:spLocks/>
                </p:cNvSpPr>
                <p:nvPr/>
              </p:nvSpPr>
              <p:spPr bwMode="auto">
                <a:xfrm>
                  <a:off x="7318451" y="5822782"/>
                  <a:ext cx="73289" cy="35640"/>
                </a:xfrm>
                <a:custGeom>
                  <a:avLst/>
                  <a:gdLst>
                    <a:gd name="T0" fmla="*/ 0 w 59"/>
                    <a:gd name="T1" fmla="*/ 0 h 29"/>
                    <a:gd name="T2" fmla="*/ 59 w 59"/>
                    <a:gd name="T3" fmla="*/ 0 h 29"/>
                    <a:gd name="T4" fmla="*/ 29 w 59"/>
                    <a:gd name="T5" fmla="*/ 29 h 29"/>
                    <a:gd name="T6" fmla="*/ 0 w 59"/>
                    <a:gd name="T7" fmla="*/ 0 h 29"/>
                  </a:gdLst>
                  <a:ahLst/>
                  <a:cxnLst>
                    <a:cxn ang="0">
                      <a:pos x="T0" y="T1"/>
                    </a:cxn>
                    <a:cxn ang="0">
                      <a:pos x="T2" y="T3"/>
                    </a:cxn>
                    <a:cxn ang="0">
                      <a:pos x="T4" y="T5"/>
                    </a:cxn>
                    <a:cxn ang="0">
                      <a:pos x="T6" y="T7"/>
                    </a:cxn>
                  </a:cxnLst>
                  <a:rect l="0" t="0" r="r" b="b"/>
                  <a:pathLst>
                    <a:path w="59" h="29">
                      <a:moveTo>
                        <a:pt x="0" y="0"/>
                      </a:moveTo>
                      <a:cubicBezTo>
                        <a:pt x="59" y="0"/>
                        <a:pt x="59" y="0"/>
                        <a:pt x="59" y="0"/>
                      </a:cubicBezTo>
                      <a:cubicBezTo>
                        <a:pt x="59" y="16"/>
                        <a:pt x="45" y="29"/>
                        <a:pt x="29" y="29"/>
                      </a:cubicBezTo>
                      <a:cubicBezTo>
                        <a:pt x="13" y="29"/>
                        <a:pt x="0" y="16"/>
                        <a:pt x="0"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1" name="Rectangle 740"/>
                <p:cNvSpPr>
                  <a:spLocks noChangeArrowheads="1"/>
                </p:cNvSpPr>
                <p:nvPr/>
              </p:nvSpPr>
              <p:spPr bwMode="auto">
                <a:xfrm>
                  <a:off x="7288834" y="5805213"/>
                  <a:ext cx="158624" cy="175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2" name="Freeform 741"/>
                <p:cNvSpPr>
                  <a:spLocks/>
                </p:cNvSpPr>
                <p:nvPr/>
              </p:nvSpPr>
              <p:spPr bwMode="auto">
                <a:xfrm>
                  <a:off x="7324977" y="5724896"/>
                  <a:ext cx="165652" cy="80316"/>
                </a:xfrm>
                <a:custGeom>
                  <a:avLst/>
                  <a:gdLst>
                    <a:gd name="T0" fmla="*/ 86 w 330"/>
                    <a:gd name="T1" fmla="*/ 0 h 160"/>
                    <a:gd name="T2" fmla="*/ 330 w 330"/>
                    <a:gd name="T3" fmla="*/ 0 h 160"/>
                    <a:gd name="T4" fmla="*/ 244 w 330"/>
                    <a:gd name="T5" fmla="*/ 160 h 160"/>
                    <a:gd name="T6" fmla="*/ 0 w 330"/>
                    <a:gd name="T7" fmla="*/ 160 h 160"/>
                    <a:gd name="T8" fmla="*/ 86 w 330"/>
                    <a:gd name="T9" fmla="*/ 0 h 160"/>
                  </a:gdLst>
                  <a:ahLst/>
                  <a:cxnLst>
                    <a:cxn ang="0">
                      <a:pos x="T0" y="T1"/>
                    </a:cxn>
                    <a:cxn ang="0">
                      <a:pos x="T2" y="T3"/>
                    </a:cxn>
                    <a:cxn ang="0">
                      <a:pos x="T4" y="T5"/>
                    </a:cxn>
                    <a:cxn ang="0">
                      <a:pos x="T6" y="T7"/>
                    </a:cxn>
                    <a:cxn ang="0">
                      <a:pos x="T8" y="T9"/>
                    </a:cxn>
                  </a:cxnLst>
                  <a:rect l="0" t="0" r="r" b="b"/>
                  <a:pathLst>
                    <a:path w="330" h="160">
                      <a:moveTo>
                        <a:pt x="86" y="0"/>
                      </a:moveTo>
                      <a:lnTo>
                        <a:pt x="330" y="0"/>
                      </a:lnTo>
                      <a:lnTo>
                        <a:pt x="244" y="160"/>
                      </a:lnTo>
                      <a:lnTo>
                        <a:pt x="0" y="160"/>
                      </a:lnTo>
                      <a:lnTo>
                        <a:pt x="8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3" name="Rectangle 742"/>
                <p:cNvSpPr>
                  <a:spLocks noChangeArrowheads="1"/>
                </p:cNvSpPr>
                <p:nvPr/>
              </p:nvSpPr>
              <p:spPr bwMode="auto">
                <a:xfrm>
                  <a:off x="7288834" y="5805213"/>
                  <a:ext cx="36142" cy="1756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4" name="Freeform 743"/>
                <p:cNvSpPr>
                  <a:spLocks/>
                </p:cNvSpPr>
                <p:nvPr/>
              </p:nvSpPr>
              <p:spPr bwMode="auto">
                <a:xfrm>
                  <a:off x="7178901" y="5596391"/>
                  <a:ext cx="42166" cy="70277"/>
                </a:xfrm>
                <a:custGeom>
                  <a:avLst/>
                  <a:gdLst>
                    <a:gd name="T0" fmla="*/ 42 w 84"/>
                    <a:gd name="T1" fmla="*/ 140 h 140"/>
                    <a:gd name="T2" fmla="*/ 84 w 84"/>
                    <a:gd name="T3" fmla="*/ 98 h 140"/>
                    <a:gd name="T4" fmla="*/ 84 w 84"/>
                    <a:gd name="T5" fmla="*/ 0 h 140"/>
                    <a:gd name="T6" fmla="*/ 0 w 84"/>
                    <a:gd name="T7" fmla="*/ 0 h 140"/>
                    <a:gd name="T8" fmla="*/ 0 w 84"/>
                    <a:gd name="T9" fmla="*/ 98 h 140"/>
                    <a:gd name="T10" fmla="*/ 42 w 84"/>
                    <a:gd name="T11" fmla="*/ 140 h 140"/>
                  </a:gdLst>
                  <a:ahLst/>
                  <a:cxnLst>
                    <a:cxn ang="0">
                      <a:pos x="T0" y="T1"/>
                    </a:cxn>
                    <a:cxn ang="0">
                      <a:pos x="T2" y="T3"/>
                    </a:cxn>
                    <a:cxn ang="0">
                      <a:pos x="T4" y="T5"/>
                    </a:cxn>
                    <a:cxn ang="0">
                      <a:pos x="T6" y="T7"/>
                    </a:cxn>
                    <a:cxn ang="0">
                      <a:pos x="T8" y="T9"/>
                    </a:cxn>
                    <a:cxn ang="0">
                      <a:pos x="T10" y="T11"/>
                    </a:cxn>
                  </a:cxnLst>
                  <a:rect l="0" t="0" r="r" b="b"/>
                  <a:pathLst>
                    <a:path w="84" h="140">
                      <a:moveTo>
                        <a:pt x="42" y="140"/>
                      </a:moveTo>
                      <a:lnTo>
                        <a:pt x="84" y="98"/>
                      </a:lnTo>
                      <a:lnTo>
                        <a:pt x="84" y="0"/>
                      </a:lnTo>
                      <a:lnTo>
                        <a:pt x="0" y="0"/>
                      </a:lnTo>
                      <a:lnTo>
                        <a:pt x="0" y="98"/>
                      </a:lnTo>
                      <a:lnTo>
                        <a:pt x="42" y="14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5" name="Freeform 744"/>
                <p:cNvSpPr>
                  <a:spLocks/>
                </p:cNvSpPr>
                <p:nvPr/>
              </p:nvSpPr>
              <p:spPr bwMode="auto">
                <a:xfrm>
                  <a:off x="7178901" y="5596391"/>
                  <a:ext cx="42166" cy="37146"/>
                </a:xfrm>
                <a:custGeom>
                  <a:avLst/>
                  <a:gdLst>
                    <a:gd name="T0" fmla="*/ 34 w 34"/>
                    <a:gd name="T1" fmla="*/ 28 h 30"/>
                    <a:gd name="T2" fmla="*/ 17 w 34"/>
                    <a:gd name="T3" fmla="*/ 30 h 30"/>
                    <a:gd name="T4" fmla="*/ 0 w 34"/>
                    <a:gd name="T5" fmla="*/ 28 h 30"/>
                    <a:gd name="T6" fmla="*/ 0 w 34"/>
                    <a:gd name="T7" fmla="*/ 0 h 30"/>
                    <a:gd name="T8" fmla="*/ 34 w 34"/>
                    <a:gd name="T9" fmla="*/ 0 h 30"/>
                    <a:gd name="T10" fmla="*/ 34 w 34"/>
                    <a:gd name="T11" fmla="*/ 28 h 30"/>
                  </a:gdLst>
                  <a:ahLst/>
                  <a:cxnLst>
                    <a:cxn ang="0">
                      <a:pos x="T0" y="T1"/>
                    </a:cxn>
                    <a:cxn ang="0">
                      <a:pos x="T2" y="T3"/>
                    </a:cxn>
                    <a:cxn ang="0">
                      <a:pos x="T4" y="T5"/>
                    </a:cxn>
                    <a:cxn ang="0">
                      <a:pos x="T6" y="T7"/>
                    </a:cxn>
                    <a:cxn ang="0">
                      <a:pos x="T8" y="T9"/>
                    </a:cxn>
                    <a:cxn ang="0">
                      <a:pos x="T10" y="T11"/>
                    </a:cxn>
                  </a:cxnLst>
                  <a:rect l="0" t="0" r="r" b="b"/>
                  <a:pathLst>
                    <a:path w="34" h="30">
                      <a:moveTo>
                        <a:pt x="34" y="28"/>
                      </a:moveTo>
                      <a:cubicBezTo>
                        <a:pt x="29" y="29"/>
                        <a:pt x="23" y="30"/>
                        <a:pt x="17" y="30"/>
                      </a:cubicBezTo>
                      <a:cubicBezTo>
                        <a:pt x="11" y="30"/>
                        <a:pt x="5" y="29"/>
                        <a:pt x="0" y="28"/>
                      </a:cubicBezTo>
                      <a:cubicBezTo>
                        <a:pt x="0" y="0"/>
                        <a:pt x="0" y="0"/>
                        <a:pt x="0" y="0"/>
                      </a:cubicBezTo>
                      <a:cubicBezTo>
                        <a:pt x="34" y="0"/>
                        <a:pt x="34" y="0"/>
                        <a:pt x="34" y="0"/>
                      </a:cubicBezTo>
                      <a:lnTo>
                        <a:pt x="34" y="28"/>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6" name="Freeform 745"/>
                <p:cNvSpPr>
                  <a:spLocks/>
                </p:cNvSpPr>
                <p:nvPr/>
              </p:nvSpPr>
              <p:spPr bwMode="auto">
                <a:xfrm>
                  <a:off x="7150289" y="5479932"/>
                  <a:ext cx="99391" cy="68269"/>
                </a:xfrm>
                <a:custGeom>
                  <a:avLst/>
                  <a:gdLst>
                    <a:gd name="T0" fmla="*/ 40 w 80"/>
                    <a:gd name="T1" fmla="*/ 0 h 55"/>
                    <a:gd name="T2" fmla="*/ 80 w 80"/>
                    <a:gd name="T3" fmla="*/ 40 h 55"/>
                    <a:gd name="T4" fmla="*/ 80 w 80"/>
                    <a:gd name="T5" fmla="*/ 55 h 55"/>
                    <a:gd name="T6" fmla="*/ 0 w 80"/>
                    <a:gd name="T7" fmla="*/ 55 h 55"/>
                    <a:gd name="T8" fmla="*/ 0 w 80"/>
                    <a:gd name="T9" fmla="*/ 40 h 55"/>
                    <a:gd name="T10" fmla="*/ 40 w 80"/>
                    <a:gd name="T11" fmla="*/ 0 h 55"/>
                  </a:gdLst>
                  <a:ahLst/>
                  <a:cxnLst>
                    <a:cxn ang="0">
                      <a:pos x="T0" y="T1"/>
                    </a:cxn>
                    <a:cxn ang="0">
                      <a:pos x="T2" y="T3"/>
                    </a:cxn>
                    <a:cxn ang="0">
                      <a:pos x="T4" y="T5"/>
                    </a:cxn>
                    <a:cxn ang="0">
                      <a:pos x="T6" y="T7"/>
                    </a:cxn>
                    <a:cxn ang="0">
                      <a:pos x="T8" y="T9"/>
                    </a:cxn>
                    <a:cxn ang="0">
                      <a:pos x="T10" y="T11"/>
                    </a:cxn>
                  </a:cxnLst>
                  <a:rect l="0" t="0" r="r" b="b"/>
                  <a:pathLst>
                    <a:path w="80" h="55">
                      <a:moveTo>
                        <a:pt x="40" y="0"/>
                      </a:moveTo>
                      <a:cubicBezTo>
                        <a:pt x="62" y="0"/>
                        <a:pt x="80" y="18"/>
                        <a:pt x="80" y="40"/>
                      </a:cubicBezTo>
                      <a:cubicBezTo>
                        <a:pt x="80" y="55"/>
                        <a:pt x="80" y="55"/>
                        <a:pt x="80" y="55"/>
                      </a:cubicBezTo>
                      <a:cubicBezTo>
                        <a:pt x="0" y="55"/>
                        <a:pt x="0" y="55"/>
                        <a:pt x="0" y="55"/>
                      </a:cubicBezTo>
                      <a:cubicBezTo>
                        <a:pt x="0" y="40"/>
                        <a:pt x="0" y="40"/>
                        <a:pt x="0" y="40"/>
                      </a:cubicBezTo>
                      <a:cubicBezTo>
                        <a:pt x="0" y="18"/>
                        <a:pt x="18" y="0"/>
                        <a:pt x="4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7" name="Freeform 746"/>
                <p:cNvSpPr>
                  <a:spLocks/>
                </p:cNvSpPr>
                <p:nvPr/>
              </p:nvSpPr>
              <p:spPr bwMode="auto">
                <a:xfrm>
                  <a:off x="7150289" y="5530631"/>
                  <a:ext cx="99391" cy="93870"/>
                </a:xfrm>
                <a:custGeom>
                  <a:avLst/>
                  <a:gdLst>
                    <a:gd name="T0" fmla="*/ 80 w 80"/>
                    <a:gd name="T1" fmla="*/ 0 h 76"/>
                    <a:gd name="T2" fmla="*/ 80 w 80"/>
                    <a:gd name="T3" fmla="*/ 63 h 76"/>
                    <a:gd name="T4" fmla="*/ 80 w 80"/>
                    <a:gd name="T5" fmla="*/ 63 h 76"/>
                    <a:gd name="T6" fmla="*/ 40 w 80"/>
                    <a:gd name="T7" fmla="*/ 76 h 76"/>
                    <a:gd name="T8" fmla="*/ 0 w 80"/>
                    <a:gd name="T9" fmla="*/ 63 h 76"/>
                    <a:gd name="T10" fmla="*/ 0 w 80"/>
                    <a:gd name="T11" fmla="*/ 63 h 76"/>
                    <a:gd name="T12" fmla="*/ 0 w 80"/>
                    <a:gd name="T13" fmla="*/ 0 h 76"/>
                    <a:gd name="T14" fmla="*/ 80 w 80"/>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76">
                      <a:moveTo>
                        <a:pt x="80" y="0"/>
                      </a:moveTo>
                      <a:cubicBezTo>
                        <a:pt x="80" y="63"/>
                        <a:pt x="80" y="63"/>
                        <a:pt x="80" y="63"/>
                      </a:cubicBezTo>
                      <a:cubicBezTo>
                        <a:pt x="80" y="63"/>
                        <a:pt x="80" y="63"/>
                        <a:pt x="80" y="63"/>
                      </a:cubicBezTo>
                      <a:cubicBezTo>
                        <a:pt x="69" y="71"/>
                        <a:pt x="55" y="76"/>
                        <a:pt x="40" y="76"/>
                      </a:cubicBezTo>
                      <a:cubicBezTo>
                        <a:pt x="25" y="76"/>
                        <a:pt x="11" y="71"/>
                        <a:pt x="0" y="63"/>
                      </a:cubicBezTo>
                      <a:cubicBezTo>
                        <a:pt x="0" y="63"/>
                        <a:pt x="0" y="63"/>
                        <a:pt x="0" y="63"/>
                      </a:cubicBezTo>
                      <a:cubicBezTo>
                        <a:pt x="0" y="0"/>
                        <a:pt x="0" y="0"/>
                        <a:pt x="0" y="0"/>
                      </a:cubicBezTo>
                      <a:lnTo>
                        <a:pt x="80" y="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8" name="Rectangle 747"/>
                <p:cNvSpPr>
                  <a:spLocks noChangeArrowheads="1"/>
                </p:cNvSpPr>
                <p:nvPr/>
              </p:nvSpPr>
              <p:spPr bwMode="auto">
                <a:xfrm>
                  <a:off x="7091056" y="5735940"/>
                  <a:ext cx="36142" cy="10040"/>
                </a:xfrm>
                <a:prstGeom prst="rect">
                  <a:avLst/>
                </a:prstGeom>
                <a:solidFill>
                  <a:srgbClr val="4937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9" name="Rectangle 748"/>
                <p:cNvSpPr>
                  <a:spLocks noChangeArrowheads="1"/>
                </p:cNvSpPr>
                <p:nvPr/>
              </p:nvSpPr>
              <p:spPr bwMode="auto">
                <a:xfrm>
                  <a:off x="7272771" y="5735940"/>
                  <a:ext cx="36142" cy="10040"/>
                </a:xfrm>
                <a:prstGeom prst="rect">
                  <a:avLst/>
                </a:prstGeom>
                <a:solidFill>
                  <a:srgbClr val="4937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60" name="Oval 749"/>
                <p:cNvSpPr>
                  <a:spLocks noChangeArrowheads="1"/>
                </p:cNvSpPr>
                <p:nvPr/>
              </p:nvSpPr>
              <p:spPr bwMode="auto">
                <a:xfrm>
                  <a:off x="7164344" y="5561754"/>
                  <a:ext cx="8534" cy="85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61" name="Oval 750"/>
                <p:cNvSpPr>
                  <a:spLocks noChangeArrowheads="1"/>
                </p:cNvSpPr>
                <p:nvPr/>
              </p:nvSpPr>
              <p:spPr bwMode="auto">
                <a:xfrm>
                  <a:off x="7228597" y="5561754"/>
                  <a:ext cx="8534" cy="85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62" name="Freeform 751"/>
                <p:cNvSpPr>
                  <a:spLocks/>
                </p:cNvSpPr>
                <p:nvPr/>
              </p:nvSpPr>
              <p:spPr bwMode="auto">
                <a:xfrm>
                  <a:off x="7178901" y="5596391"/>
                  <a:ext cx="42166" cy="16063"/>
                </a:xfrm>
                <a:custGeom>
                  <a:avLst/>
                  <a:gdLst>
                    <a:gd name="T0" fmla="*/ 0 w 34"/>
                    <a:gd name="T1" fmla="*/ 0 h 13"/>
                    <a:gd name="T2" fmla="*/ 17 w 34"/>
                    <a:gd name="T3" fmla="*/ 13 h 13"/>
                    <a:gd name="T4" fmla="*/ 34 w 34"/>
                    <a:gd name="T5" fmla="*/ 0 h 13"/>
                    <a:gd name="T6" fmla="*/ 0 w 34"/>
                    <a:gd name="T7" fmla="*/ 0 h 13"/>
                  </a:gdLst>
                  <a:ahLst/>
                  <a:cxnLst>
                    <a:cxn ang="0">
                      <a:pos x="T0" y="T1"/>
                    </a:cxn>
                    <a:cxn ang="0">
                      <a:pos x="T2" y="T3"/>
                    </a:cxn>
                    <a:cxn ang="0">
                      <a:pos x="T4" y="T5"/>
                    </a:cxn>
                    <a:cxn ang="0">
                      <a:pos x="T6" y="T7"/>
                    </a:cxn>
                  </a:cxnLst>
                  <a:rect l="0" t="0" r="r" b="b"/>
                  <a:pathLst>
                    <a:path w="34" h="13">
                      <a:moveTo>
                        <a:pt x="0" y="0"/>
                      </a:moveTo>
                      <a:cubicBezTo>
                        <a:pt x="2" y="7"/>
                        <a:pt x="9" y="13"/>
                        <a:pt x="17" y="13"/>
                      </a:cubicBezTo>
                      <a:cubicBezTo>
                        <a:pt x="25" y="13"/>
                        <a:pt x="31" y="7"/>
                        <a:pt x="3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63" name="Freeform 752"/>
                <p:cNvSpPr>
                  <a:spLocks/>
                </p:cNvSpPr>
                <p:nvPr/>
              </p:nvSpPr>
              <p:spPr bwMode="auto">
                <a:xfrm>
                  <a:off x="7192455" y="5582837"/>
                  <a:ext cx="15059" cy="4518"/>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3"/>
                        <a:pt x="3" y="4"/>
                        <a:pt x="6" y="4"/>
                      </a:cubicBezTo>
                      <a:cubicBezTo>
                        <a:pt x="9" y="4"/>
                        <a:pt x="11" y="3"/>
                        <a:pt x="12" y="0"/>
                      </a:cubicBezTo>
                      <a:lnTo>
                        <a:pt x="0" y="0"/>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nvGrpSpPr>
            <p:cNvPr id="486" name="Group 485"/>
            <p:cNvGrpSpPr/>
            <p:nvPr/>
          </p:nvGrpSpPr>
          <p:grpSpPr>
            <a:xfrm>
              <a:off x="11062064" y="8017581"/>
              <a:ext cx="1018143" cy="997902"/>
              <a:chOff x="11137107" y="2776123"/>
              <a:chExt cx="835189" cy="827511"/>
            </a:xfrm>
          </p:grpSpPr>
          <p:sp>
            <p:nvSpPr>
              <p:cNvPr id="487" name="Rectangle 486"/>
              <p:cNvSpPr/>
              <p:nvPr/>
            </p:nvSpPr>
            <p:spPr>
              <a:xfrm>
                <a:off x="11137110" y="2776123"/>
                <a:ext cx="835186" cy="821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grpSp>
            <p:nvGrpSpPr>
              <p:cNvPr id="488" name="Group 487"/>
              <p:cNvGrpSpPr/>
              <p:nvPr/>
            </p:nvGrpSpPr>
            <p:grpSpPr>
              <a:xfrm>
                <a:off x="11137107" y="3264427"/>
                <a:ext cx="824193" cy="339207"/>
                <a:chOff x="10027990" y="4738729"/>
                <a:chExt cx="2162197" cy="867217"/>
              </a:xfrm>
            </p:grpSpPr>
            <p:sp>
              <p:nvSpPr>
                <p:cNvPr id="489" name="Freeform 5"/>
                <p:cNvSpPr>
                  <a:spLocks/>
                </p:cNvSpPr>
                <p:nvPr/>
              </p:nvSpPr>
              <p:spPr bwMode="auto">
                <a:xfrm>
                  <a:off x="10428779" y="5276639"/>
                  <a:ext cx="30471" cy="119535"/>
                </a:xfrm>
                <a:custGeom>
                  <a:avLst/>
                  <a:gdLst>
                    <a:gd name="T0" fmla="*/ 26 w 26"/>
                    <a:gd name="T1" fmla="*/ 102 h 102"/>
                    <a:gd name="T2" fmla="*/ 26 w 26"/>
                    <a:gd name="T3" fmla="*/ 102 h 102"/>
                    <a:gd name="T4" fmla="*/ 0 w 26"/>
                    <a:gd name="T5" fmla="*/ 102 h 102"/>
                    <a:gd name="T6" fmla="*/ 0 w 26"/>
                    <a:gd name="T7" fmla="*/ 0 h 102"/>
                    <a:gd name="T8" fmla="*/ 26 w 26"/>
                    <a:gd name="T9" fmla="*/ 0 h 102"/>
                    <a:gd name="T10" fmla="*/ 26 w 26"/>
                    <a:gd name="T11" fmla="*/ 102 h 102"/>
                    <a:gd name="T12" fmla="*/ 26 w 26"/>
                    <a:gd name="T13" fmla="*/ 102 h 102"/>
                    <a:gd name="T14" fmla="*/ 26 w 26"/>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2">
                      <a:moveTo>
                        <a:pt x="26" y="102"/>
                      </a:moveTo>
                      <a:lnTo>
                        <a:pt x="26" y="102"/>
                      </a:lnTo>
                      <a:lnTo>
                        <a:pt x="0" y="102"/>
                      </a:lnTo>
                      <a:lnTo>
                        <a:pt x="0" y="0"/>
                      </a:lnTo>
                      <a:lnTo>
                        <a:pt x="26" y="0"/>
                      </a:lnTo>
                      <a:lnTo>
                        <a:pt x="26" y="102"/>
                      </a:lnTo>
                      <a:lnTo>
                        <a:pt x="26" y="102"/>
                      </a:lnTo>
                      <a:lnTo>
                        <a:pt x="26" y="10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0" name="Freeform 6"/>
                <p:cNvSpPr>
                  <a:spLocks/>
                </p:cNvSpPr>
                <p:nvPr/>
              </p:nvSpPr>
              <p:spPr bwMode="auto">
                <a:xfrm>
                  <a:off x="10363152" y="5171166"/>
                  <a:ext cx="158209" cy="159380"/>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1" name="Freeform 7"/>
                <p:cNvSpPr>
                  <a:spLocks/>
                </p:cNvSpPr>
                <p:nvPr/>
              </p:nvSpPr>
              <p:spPr bwMode="auto">
                <a:xfrm>
                  <a:off x="10384248" y="5089132"/>
                  <a:ext cx="116018" cy="117191"/>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2" name="Freeform 8"/>
                <p:cNvSpPr>
                  <a:spLocks/>
                </p:cNvSpPr>
                <p:nvPr/>
              </p:nvSpPr>
              <p:spPr bwMode="auto">
                <a:xfrm>
                  <a:off x="10027990" y="5378595"/>
                  <a:ext cx="1093390" cy="227351"/>
                </a:xfrm>
                <a:custGeom>
                  <a:avLst/>
                  <a:gdLst>
                    <a:gd name="T0" fmla="*/ 413 w 667"/>
                    <a:gd name="T1" fmla="*/ 7 h 139"/>
                    <a:gd name="T2" fmla="*/ 413 w 667"/>
                    <a:gd name="T3" fmla="*/ 7 h 139"/>
                    <a:gd name="T4" fmla="*/ 405 w 667"/>
                    <a:gd name="T5" fmla="*/ 6 h 139"/>
                    <a:gd name="T6" fmla="*/ 392 w 667"/>
                    <a:gd name="T7" fmla="*/ 22 h 139"/>
                    <a:gd name="T8" fmla="*/ 357 w 667"/>
                    <a:gd name="T9" fmla="*/ 38 h 139"/>
                    <a:gd name="T10" fmla="*/ 330 w 667"/>
                    <a:gd name="T11" fmla="*/ 23 h 139"/>
                    <a:gd name="T12" fmla="*/ 330 w 667"/>
                    <a:gd name="T13" fmla="*/ 0 h 139"/>
                    <a:gd name="T14" fmla="*/ 0 w 667"/>
                    <a:gd name="T15" fmla="*/ 139 h 139"/>
                    <a:gd name="T16" fmla="*/ 236 w 667"/>
                    <a:gd name="T17" fmla="*/ 139 h 139"/>
                    <a:gd name="T18" fmla="*/ 667 w 667"/>
                    <a:gd name="T19" fmla="*/ 139 h 139"/>
                    <a:gd name="T20" fmla="*/ 413 w 667"/>
                    <a:gd name="T21"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 h="139">
                      <a:moveTo>
                        <a:pt x="413" y="7"/>
                      </a:moveTo>
                      <a:cubicBezTo>
                        <a:pt x="413" y="7"/>
                        <a:pt x="413" y="7"/>
                        <a:pt x="413" y="7"/>
                      </a:cubicBezTo>
                      <a:cubicBezTo>
                        <a:pt x="410" y="6"/>
                        <a:pt x="408" y="6"/>
                        <a:pt x="405" y="6"/>
                      </a:cubicBezTo>
                      <a:cubicBezTo>
                        <a:pt x="401" y="12"/>
                        <a:pt x="396" y="18"/>
                        <a:pt x="392" y="22"/>
                      </a:cubicBezTo>
                      <a:cubicBezTo>
                        <a:pt x="381" y="33"/>
                        <a:pt x="371" y="38"/>
                        <a:pt x="357" y="38"/>
                      </a:cubicBezTo>
                      <a:cubicBezTo>
                        <a:pt x="344" y="38"/>
                        <a:pt x="334" y="33"/>
                        <a:pt x="330" y="23"/>
                      </a:cubicBezTo>
                      <a:cubicBezTo>
                        <a:pt x="327" y="17"/>
                        <a:pt x="327" y="9"/>
                        <a:pt x="330" y="0"/>
                      </a:cubicBezTo>
                      <a:cubicBezTo>
                        <a:pt x="210" y="1"/>
                        <a:pt x="92" y="47"/>
                        <a:pt x="0" y="139"/>
                      </a:cubicBezTo>
                      <a:cubicBezTo>
                        <a:pt x="236" y="139"/>
                        <a:pt x="236" y="139"/>
                        <a:pt x="236" y="139"/>
                      </a:cubicBezTo>
                      <a:cubicBezTo>
                        <a:pt x="667" y="139"/>
                        <a:pt x="667" y="139"/>
                        <a:pt x="667" y="139"/>
                      </a:cubicBezTo>
                      <a:cubicBezTo>
                        <a:pt x="595" y="66"/>
                        <a:pt x="506" y="23"/>
                        <a:pt x="413"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3" name="Freeform 9"/>
                <p:cNvSpPr>
                  <a:spLocks/>
                </p:cNvSpPr>
                <p:nvPr/>
              </p:nvSpPr>
              <p:spPr bwMode="auto">
                <a:xfrm>
                  <a:off x="10594022" y="5379768"/>
                  <a:ext cx="69141" cy="36331"/>
                </a:xfrm>
                <a:custGeom>
                  <a:avLst/>
                  <a:gdLst>
                    <a:gd name="T0" fmla="*/ 16 w 42"/>
                    <a:gd name="T1" fmla="*/ 22 h 22"/>
                    <a:gd name="T2" fmla="*/ 16 w 42"/>
                    <a:gd name="T3" fmla="*/ 22 h 22"/>
                    <a:gd name="T4" fmla="*/ 42 w 42"/>
                    <a:gd name="T5" fmla="*/ 2 h 22"/>
                    <a:gd name="T6" fmla="*/ 5 w 42"/>
                    <a:gd name="T7" fmla="*/ 0 h 22"/>
                    <a:gd name="T8" fmla="*/ 16 w 42"/>
                    <a:gd name="T9" fmla="*/ 22 h 22"/>
                  </a:gdLst>
                  <a:ahLst/>
                  <a:cxnLst>
                    <a:cxn ang="0">
                      <a:pos x="T0" y="T1"/>
                    </a:cxn>
                    <a:cxn ang="0">
                      <a:pos x="T2" y="T3"/>
                    </a:cxn>
                    <a:cxn ang="0">
                      <a:pos x="T4" y="T5"/>
                    </a:cxn>
                    <a:cxn ang="0">
                      <a:pos x="T6" y="T7"/>
                    </a:cxn>
                    <a:cxn ang="0">
                      <a:pos x="T8" y="T9"/>
                    </a:cxn>
                  </a:cxnLst>
                  <a:rect l="0" t="0" r="r" b="b"/>
                  <a:pathLst>
                    <a:path w="42" h="22">
                      <a:moveTo>
                        <a:pt x="16" y="22"/>
                      </a:moveTo>
                      <a:cubicBezTo>
                        <a:pt x="16" y="22"/>
                        <a:pt x="16" y="22"/>
                        <a:pt x="16" y="22"/>
                      </a:cubicBezTo>
                      <a:cubicBezTo>
                        <a:pt x="26" y="22"/>
                        <a:pt x="32" y="15"/>
                        <a:pt x="42" y="2"/>
                      </a:cubicBezTo>
                      <a:cubicBezTo>
                        <a:pt x="30" y="1"/>
                        <a:pt x="18" y="0"/>
                        <a:pt x="5" y="0"/>
                      </a:cubicBezTo>
                      <a:cubicBezTo>
                        <a:pt x="0" y="14"/>
                        <a:pt x="7" y="22"/>
                        <a:pt x="16" y="2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4" name="Freeform 10"/>
                <p:cNvSpPr>
                  <a:spLocks/>
                </p:cNvSpPr>
                <p:nvPr/>
              </p:nvSpPr>
              <p:spPr bwMode="auto">
                <a:xfrm>
                  <a:off x="10564725" y="5378595"/>
                  <a:ext cx="127738" cy="62111"/>
                </a:xfrm>
                <a:custGeom>
                  <a:avLst/>
                  <a:gdLst>
                    <a:gd name="T0" fmla="*/ 3 w 78"/>
                    <a:gd name="T1" fmla="*/ 23 h 38"/>
                    <a:gd name="T2" fmla="*/ 3 w 78"/>
                    <a:gd name="T3" fmla="*/ 23 h 38"/>
                    <a:gd name="T4" fmla="*/ 30 w 78"/>
                    <a:gd name="T5" fmla="*/ 38 h 38"/>
                    <a:gd name="T6" fmla="*/ 65 w 78"/>
                    <a:gd name="T7" fmla="*/ 22 h 38"/>
                    <a:gd name="T8" fmla="*/ 78 w 78"/>
                    <a:gd name="T9" fmla="*/ 6 h 38"/>
                    <a:gd name="T10" fmla="*/ 60 w 78"/>
                    <a:gd name="T11" fmla="*/ 3 h 38"/>
                    <a:gd name="T12" fmla="*/ 34 w 78"/>
                    <a:gd name="T13" fmla="*/ 23 h 38"/>
                    <a:gd name="T14" fmla="*/ 23 w 78"/>
                    <a:gd name="T15" fmla="*/ 1 h 38"/>
                    <a:gd name="T16" fmla="*/ 3 w 78"/>
                    <a:gd name="T17" fmla="*/ 0 h 38"/>
                    <a:gd name="T18" fmla="*/ 3 w 78"/>
                    <a:gd name="T19" fmla="*/ 2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8">
                      <a:moveTo>
                        <a:pt x="3" y="23"/>
                      </a:moveTo>
                      <a:cubicBezTo>
                        <a:pt x="3" y="23"/>
                        <a:pt x="3" y="23"/>
                        <a:pt x="3" y="23"/>
                      </a:cubicBezTo>
                      <a:cubicBezTo>
                        <a:pt x="7" y="33"/>
                        <a:pt x="17" y="38"/>
                        <a:pt x="30" y="38"/>
                      </a:cubicBezTo>
                      <a:cubicBezTo>
                        <a:pt x="44" y="38"/>
                        <a:pt x="54" y="33"/>
                        <a:pt x="65" y="22"/>
                      </a:cubicBezTo>
                      <a:cubicBezTo>
                        <a:pt x="69" y="18"/>
                        <a:pt x="74" y="12"/>
                        <a:pt x="78" y="6"/>
                      </a:cubicBezTo>
                      <a:cubicBezTo>
                        <a:pt x="72" y="5"/>
                        <a:pt x="66" y="4"/>
                        <a:pt x="60" y="3"/>
                      </a:cubicBezTo>
                      <a:cubicBezTo>
                        <a:pt x="50" y="16"/>
                        <a:pt x="44" y="23"/>
                        <a:pt x="34" y="23"/>
                      </a:cubicBezTo>
                      <a:cubicBezTo>
                        <a:pt x="25" y="23"/>
                        <a:pt x="18" y="15"/>
                        <a:pt x="23" y="1"/>
                      </a:cubicBezTo>
                      <a:cubicBezTo>
                        <a:pt x="16" y="0"/>
                        <a:pt x="10" y="0"/>
                        <a:pt x="3" y="0"/>
                      </a:cubicBezTo>
                      <a:cubicBezTo>
                        <a:pt x="0" y="9"/>
                        <a:pt x="0" y="17"/>
                        <a:pt x="3" y="23"/>
                      </a:cubicBezTo>
                      <a:close/>
                    </a:path>
                  </a:pathLst>
                </a:custGeom>
                <a:solidFill>
                  <a:srgbClr val="6E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5" name="Freeform 11"/>
                <p:cNvSpPr>
                  <a:spLocks noEditPoints="1"/>
                </p:cNvSpPr>
                <p:nvPr/>
              </p:nvSpPr>
              <p:spPr bwMode="auto">
                <a:xfrm>
                  <a:off x="10543630" y="5222732"/>
                  <a:ext cx="144145" cy="215633"/>
                </a:xfrm>
                <a:custGeom>
                  <a:avLst/>
                  <a:gdLst>
                    <a:gd name="T0" fmla="*/ 44 w 88"/>
                    <a:gd name="T1" fmla="*/ 16 h 132"/>
                    <a:gd name="T2" fmla="*/ 44 w 88"/>
                    <a:gd name="T3" fmla="*/ 16 h 132"/>
                    <a:gd name="T4" fmla="*/ 21 w 88"/>
                    <a:gd name="T5" fmla="*/ 67 h 132"/>
                    <a:gd name="T6" fmla="*/ 44 w 88"/>
                    <a:gd name="T7" fmla="*/ 116 h 132"/>
                    <a:gd name="T8" fmla="*/ 66 w 88"/>
                    <a:gd name="T9" fmla="*/ 67 h 132"/>
                    <a:gd name="T10" fmla="*/ 44 w 88"/>
                    <a:gd name="T11" fmla="*/ 16 h 132"/>
                    <a:gd name="T12" fmla="*/ 42 w 88"/>
                    <a:gd name="T13" fmla="*/ 132 h 132"/>
                    <a:gd name="T14" fmla="*/ 42 w 88"/>
                    <a:gd name="T15" fmla="*/ 132 h 132"/>
                    <a:gd name="T16" fmla="*/ 11 w 88"/>
                    <a:gd name="T17" fmla="*/ 116 h 132"/>
                    <a:gd name="T18" fmla="*/ 0 w 88"/>
                    <a:gd name="T19" fmla="*/ 68 h 132"/>
                    <a:gd name="T20" fmla="*/ 11 w 88"/>
                    <a:gd name="T21" fmla="*/ 17 h 132"/>
                    <a:gd name="T22" fmla="*/ 45 w 88"/>
                    <a:gd name="T23" fmla="*/ 0 h 132"/>
                    <a:gd name="T24" fmla="*/ 88 w 88"/>
                    <a:gd name="T25" fmla="*/ 65 h 132"/>
                    <a:gd name="T26" fmla="*/ 76 w 88"/>
                    <a:gd name="T27" fmla="*/ 115 h 132"/>
                    <a:gd name="T28" fmla="*/ 42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4" y="16"/>
                      </a:moveTo>
                      <a:cubicBezTo>
                        <a:pt x="44" y="16"/>
                        <a:pt x="44" y="16"/>
                        <a:pt x="44" y="16"/>
                      </a:cubicBezTo>
                      <a:cubicBezTo>
                        <a:pt x="29" y="16"/>
                        <a:pt x="21" y="33"/>
                        <a:pt x="21" y="67"/>
                      </a:cubicBezTo>
                      <a:cubicBezTo>
                        <a:pt x="21" y="100"/>
                        <a:pt x="29"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4" y="29"/>
                        <a:pt x="11" y="17"/>
                      </a:cubicBezTo>
                      <a:cubicBezTo>
                        <a:pt x="19" y="5"/>
                        <a:pt x="31" y="0"/>
                        <a:pt x="45" y="0"/>
                      </a:cubicBezTo>
                      <a:cubicBezTo>
                        <a:pt x="73" y="0"/>
                        <a:pt x="88" y="21"/>
                        <a:pt x="88" y="65"/>
                      </a:cubicBezTo>
                      <a:cubicBezTo>
                        <a:pt x="88" y="87"/>
                        <a:pt x="84" y="104"/>
                        <a:pt x="76" y="115"/>
                      </a:cubicBezTo>
                      <a:cubicBezTo>
                        <a:pt x="68" y="126"/>
                        <a:pt x="57" y="132"/>
                        <a:pt x="42"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6" name="Freeform 12"/>
                <p:cNvSpPr>
                  <a:spLocks/>
                </p:cNvSpPr>
                <p:nvPr/>
              </p:nvSpPr>
              <p:spPr bwMode="auto">
                <a:xfrm>
                  <a:off x="10701837" y="5223902"/>
                  <a:ext cx="76173" cy="209771"/>
                </a:xfrm>
                <a:custGeom>
                  <a:avLst/>
                  <a:gdLst>
                    <a:gd name="T0" fmla="*/ 46 w 46"/>
                    <a:gd name="T1" fmla="*/ 0 h 128"/>
                    <a:gd name="T2" fmla="*/ 46 w 46"/>
                    <a:gd name="T3" fmla="*/ 0 h 128"/>
                    <a:gd name="T4" fmla="*/ 46 w 46"/>
                    <a:gd name="T5" fmla="*/ 128 h 128"/>
                    <a:gd name="T6" fmla="*/ 26 w 46"/>
                    <a:gd name="T7" fmla="*/ 128 h 128"/>
                    <a:gd name="T8" fmla="*/ 26 w 46"/>
                    <a:gd name="T9" fmla="*/ 25 h 128"/>
                    <a:gd name="T10" fmla="*/ 14 w 46"/>
                    <a:gd name="T11" fmla="*/ 32 h 128"/>
                    <a:gd name="T12" fmla="*/ 0 w 46"/>
                    <a:gd name="T13" fmla="*/ 36 h 128"/>
                    <a:gd name="T14" fmla="*/ 0 w 46"/>
                    <a:gd name="T15" fmla="*/ 19 h 128"/>
                    <a:gd name="T16" fmla="*/ 9 w 46"/>
                    <a:gd name="T17" fmla="*/ 16 h 128"/>
                    <a:gd name="T18" fmla="*/ 19 w 46"/>
                    <a:gd name="T19" fmla="*/ 11 h 128"/>
                    <a:gd name="T20" fmla="*/ 28 w 46"/>
                    <a:gd name="T21" fmla="*/ 6 h 128"/>
                    <a:gd name="T22" fmla="*/ 38 w 46"/>
                    <a:gd name="T23" fmla="*/ 0 h 128"/>
                    <a:gd name="T24" fmla="*/ 46 w 46"/>
                    <a:gd name="T25" fmla="*/ 0 h 128"/>
                    <a:gd name="T26" fmla="*/ 46 w 46"/>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128">
                      <a:moveTo>
                        <a:pt x="46" y="0"/>
                      </a:moveTo>
                      <a:cubicBezTo>
                        <a:pt x="46" y="0"/>
                        <a:pt x="46" y="0"/>
                        <a:pt x="46" y="0"/>
                      </a:cubicBezTo>
                      <a:cubicBezTo>
                        <a:pt x="46" y="128"/>
                        <a:pt x="46" y="128"/>
                        <a:pt x="46" y="128"/>
                      </a:cubicBezTo>
                      <a:cubicBezTo>
                        <a:pt x="26" y="128"/>
                        <a:pt x="26" y="128"/>
                        <a:pt x="26" y="128"/>
                      </a:cubicBezTo>
                      <a:cubicBezTo>
                        <a:pt x="26" y="25"/>
                        <a:pt x="26" y="25"/>
                        <a:pt x="26" y="25"/>
                      </a:cubicBezTo>
                      <a:cubicBezTo>
                        <a:pt x="22" y="28"/>
                        <a:pt x="18" y="30"/>
                        <a:pt x="14" y="32"/>
                      </a:cubicBezTo>
                      <a:cubicBezTo>
                        <a:pt x="10" y="33"/>
                        <a:pt x="5" y="35"/>
                        <a:pt x="0" y="36"/>
                      </a:cubicBezTo>
                      <a:cubicBezTo>
                        <a:pt x="0" y="19"/>
                        <a:pt x="0" y="19"/>
                        <a:pt x="0" y="19"/>
                      </a:cubicBezTo>
                      <a:cubicBezTo>
                        <a:pt x="3" y="18"/>
                        <a:pt x="6" y="17"/>
                        <a:pt x="9" y="16"/>
                      </a:cubicBezTo>
                      <a:cubicBezTo>
                        <a:pt x="12" y="14"/>
                        <a:pt x="16" y="13"/>
                        <a:pt x="19" y="11"/>
                      </a:cubicBezTo>
                      <a:cubicBezTo>
                        <a:pt x="22" y="10"/>
                        <a:pt x="25" y="8"/>
                        <a:pt x="28" y="6"/>
                      </a:cubicBezTo>
                      <a:cubicBezTo>
                        <a:pt x="31" y="5"/>
                        <a:pt x="34" y="2"/>
                        <a:pt x="38" y="0"/>
                      </a:cubicBezTo>
                      <a:cubicBezTo>
                        <a:pt x="46" y="0"/>
                        <a:pt x="46" y="0"/>
                        <a:pt x="46" y="0"/>
                      </a:cubicBezTo>
                      <a:cubicBezTo>
                        <a:pt x="46" y="0"/>
                        <a:pt x="46" y="0"/>
                        <a:pt x="46" y="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7" name="Freeform 13"/>
                <p:cNvSpPr>
                  <a:spLocks noEditPoints="1"/>
                </p:cNvSpPr>
                <p:nvPr/>
              </p:nvSpPr>
              <p:spPr bwMode="auto">
                <a:xfrm>
                  <a:off x="10811997" y="5222732"/>
                  <a:ext cx="142973" cy="215633"/>
                </a:xfrm>
                <a:custGeom>
                  <a:avLst/>
                  <a:gdLst>
                    <a:gd name="T0" fmla="*/ 44 w 87"/>
                    <a:gd name="T1" fmla="*/ 16 h 132"/>
                    <a:gd name="T2" fmla="*/ 44 w 87"/>
                    <a:gd name="T3" fmla="*/ 16 h 132"/>
                    <a:gd name="T4" fmla="*/ 21 w 87"/>
                    <a:gd name="T5" fmla="*/ 67 h 132"/>
                    <a:gd name="T6" fmla="*/ 44 w 87"/>
                    <a:gd name="T7" fmla="*/ 116 h 132"/>
                    <a:gd name="T8" fmla="*/ 66 w 87"/>
                    <a:gd name="T9" fmla="*/ 67 h 132"/>
                    <a:gd name="T10" fmla="*/ 44 w 87"/>
                    <a:gd name="T11" fmla="*/ 16 h 132"/>
                    <a:gd name="T12" fmla="*/ 42 w 87"/>
                    <a:gd name="T13" fmla="*/ 132 h 132"/>
                    <a:gd name="T14" fmla="*/ 42 w 87"/>
                    <a:gd name="T15" fmla="*/ 132 h 132"/>
                    <a:gd name="T16" fmla="*/ 11 w 87"/>
                    <a:gd name="T17" fmla="*/ 116 h 132"/>
                    <a:gd name="T18" fmla="*/ 0 w 87"/>
                    <a:gd name="T19" fmla="*/ 68 h 132"/>
                    <a:gd name="T20" fmla="*/ 11 w 87"/>
                    <a:gd name="T21" fmla="*/ 17 h 132"/>
                    <a:gd name="T22" fmla="*/ 45 w 87"/>
                    <a:gd name="T23" fmla="*/ 0 h 132"/>
                    <a:gd name="T24" fmla="*/ 87 w 87"/>
                    <a:gd name="T25" fmla="*/ 65 h 132"/>
                    <a:gd name="T26" fmla="*/ 75 w 87"/>
                    <a:gd name="T27" fmla="*/ 115 h 132"/>
                    <a:gd name="T28" fmla="*/ 42 w 87"/>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32">
                      <a:moveTo>
                        <a:pt x="44" y="16"/>
                      </a:moveTo>
                      <a:cubicBezTo>
                        <a:pt x="44" y="16"/>
                        <a:pt x="44" y="16"/>
                        <a:pt x="44" y="16"/>
                      </a:cubicBezTo>
                      <a:cubicBezTo>
                        <a:pt x="29" y="16"/>
                        <a:pt x="21" y="33"/>
                        <a:pt x="21" y="67"/>
                      </a:cubicBezTo>
                      <a:cubicBezTo>
                        <a:pt x="21" y="100"/>
                        <a:pt x="28"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3" y="29"/>
                        <a:pt x="11" y="17"/>
                      </a:cubicBezTo>
                      <a:cubicBezTo>
                        <a:pt x="19" y="5"/>
                        <a:pt x="30" y="0"/>
                        <a:pt x="45" y="0"/>
                      </a:cubicBezTo>
                      <a:cubicBezTo>
                        <a:pt x="73" y="0"/>
                        <a:pt x="87" y="21"/>
                        <a:pt x="87" y="65"/>
                      </a:cubicBezTo>
                      <a:cubicBezTo>
                        <a:pt x="87" y="87"/>
                        <a:pt x="83" y="104"/>
                        <a:pt x="75" y="115"/>
                      </a:cubicBezTo>
                      <a:cubicBezTo>
                        <a:pt x="67" y="126"/>
                        <a:pt x="56" y="132"/>
                        <a:pt x="42"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8" name="Freeform 14"/>
                <p:cNvSpPr>
                  <a:spLocks noEditPoints="1"/>
                </p:cNvSpPr>
                <p:nvPr/>
              </p:nvSpPr>
              <p:spPr bwMode="auto">
                <a:xfrm>
                  <a:off x="10977235" y="5222732"/>
                  <a:ext cx="144145" cy="215633"/>
                </a:xfrm>
                <a:custGeom>
                  <a:avLst/>
                  <a:gdLst>
                    <a:gd name="T0" fmla="*/ 45 w 88"/>
                    <a:gd name="T1" fmla="*/ 16 h 132"/>
                    <a:gd name="T2" fmla="*/ 45 w 88"/>
                    <a:gd name="T3" fmla="*/ 16 h 132"/>
                    <a:gd name="T4" fmla="*/ 22 w 88"/>
                    <a:gd name="T5" fmla="*/ 67 h 132"/>
                    <a:gd name="T6" fmla="*/ 45 w 88"/>
                    <a:gd name="T7" fmla="*/ 116 h 132"/>
                    <a:gd name="T8" fmla="*/ 67 w 88"/>
                    <a:gd name="T9" fmla="*/ 67 h 132"/>
                    <a:gd name="T10" fmla="*/ 45 w 88"/>
                    <a:gd name="T11" fmla="*/ 16 h 132"/>
                    <a:gd name="T12" fmla="*/ 43 w 88"/>
                    <a:gd name="T13" fmla="*/ 132 h 132"/>
                    <a:gd name="T14" fmla="*/ 43 w 88"/>
                    <a:gd name="T15" fmla="*/ 132 h 132"/>
                    <a:gd name="T16" fmla="*/ 12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2" y="33"/>
                        <a:pt x="22" y="67"/>
                      </a:cubicBezTo>
                      <a:cubicBezTo>
                        <a:pt x="22" y="100"/>
                        <a:pt x="29" y="116"/>
                        <a:pt x="45" y="116"/>
                      </a:cubicBezTo>
                      <a:cubicBezTo>
                        <a:pt x="60" y="116"/>
                        <a:pt x="67" y="99"/>
                        <a:pt x="67" y="67"/>
                      </a:cubicBezTo>
                      <a:cubicBezTo>
                        <a:pt x="67" y="33"/>
                        <a:pt x="60" y="16"/>
                        <a:pt x="45" y="16"/>
                      </a:cubicBezTo>
                      <a:close/>
                      <a:moveTo>
                        <a:pt x="43" y="132"/>
                      </a:moveTo>
                      <a:cubicBezTo>
                        <a:pt x="43" y="132"/>
                        <a:pt x="43" y="132"/>
                        <a:pt x="43" y="132"/>
                      </a:cubicBezTo>
                      <a:cubicBezTo>
                        <a:pt x="29" y="132"/>
                        <a:pt x="19" y="127"/>
                        <a:pt x="12"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9" name="Freeform 15"/>
                <p:cNvSpPr>
                  <a:spLocks noEditPoints="1"/>
                </p:cNvSpPr>
                <p:nvPr/>
              </p:nvSpPr>
              <p:spPr bwMode="auto">
                <a:xfrm>
                  <a:off x="11154193" y="5222732"/>
                  <a:ext cx="144145" cy="215633"/>
                </a:xfrm>
                <a:custGeom>
                  <a:avLst/>
                  <a:gdLst>
                    <a:gd name="T0" fmla="*/ 45 w 88"/>
                    <a:gd name="T1" fmla="*/ 16 h 132"/>
                    <a:gd name="T2" fmla="*/ 45 w 88"/>
                    <a:gd name="T3" fmla="*/ 16 h 132"/>
                    <a:gd name="T4" fmla="*/ 21 w 88"/>
                    <a:gd name="T5" fmla="*/ 67 h 132"/>
                    <a:gd name="T6" fmla="*/ 44 w 88"/>
                    <a:gd name="T7" fmla="*/ 116 h 132"/>
                    <a:gd name="T8" fmla="*/ 67 w 88"/>
                    <a:gd name="T9" fmla="*/ 67 h 132"/>
                    <a:gd name="T10" fmla="*/ 45 w 88"/>
                    <a:gd name="T11" fmla="*/ 16 h 132"/>
                    <a:gd name="T12" fmla="*/ 43 w 88"/>
                    <a:gd name="T13" fmla="*/ 132 h 132"/>
                    <a:gd name="T14" fmla="*/ 43 w 88"/>
                    <a:gd name="T15" fmla="*/ 132 h 132"/>
                    <a:gd name="T16" fmla="*/ 11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1" y="33"/>
                        <a:pt x="21" y="67"/>
                      </a:cubicBezTo>
                      <a:cubicBezTo>
                        <a:pt x="21" y="100"/>
                        <a:pt x="29" y="116"/>
                        <a:pt x="44" y="116"/>
                      </a:cubicBezTo>
                      <a:cubicBezTo>
                        <a:pt x="59" y="116"/>
                        <a:pt x="67" y="99"/>
                        <a:pt x="67" y="67"/>
                      </a:cubicBezTo>
                      <a:cubicBezTo>
                        <a:pt x="67" y="33"/>
                        <a:pt x="59" y="16"/>
                        <a:pt x="45" y="16"/>
                      </a:cubicBezTo>
                      <a:close/>
                      <a:moveTo>
                        <a:pt x="43" y="132"/>
                      </a:moveTo>
                      <a:cubicBezTo>
                        <a:pt x="43" y="132"/>
                        <a:pt x="43" y="132"/>
                        <a:pt x="43" y="132"/>
                      </a:cubicBezTo>
                      <a:cubicBezTo>
                        <a:pt x="29" y="132"/>
                        <a:pt x="19" y="127"/>
                        <a:pt x="11"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0" name="Freeform 16"/>
                <p:cNvSpPr>
                  <a:spLocks/>
                </p:cNvSpPr>
                <p:nvPr/>
              </p:nvSpPr>
              <p:spPr bwMode="auto">
                <a:xfrm>
                  <a:off x="11465921" y="5312968"/>
                  <a:ext cx="724239" cy="292978"/>
                </a:xfrm>
                <a:custGeom>
                  <a:avLst/>
                  <a:gdLst>
                    <a:gd name="T0" fmla="*/ 0 w 442"/>
                    <a:gd name="T1" fmla="*/ 179 h 179"/>
                    <a:gd name="T2" fmla="*/ 0 w 442"/>
                    <a:gd name="T3" fmla="*/ 179 h 179"/>
                    <a:gd name="T4" fmla="*/ 290 w 442"/>
                    <a:gd name="T5" fmla="*/ 179 h 179"/>
                    <a:gd name="T6" fmla="*/ 442 w 442"/>
                    <a:gd name="T7" fmla="*/ 179 h 179"/>
                    <a:gd name="T8" fmla="*/ 442 w 442"/>
                    <a:gd name="T9" fmla="*/ 9 h 179"/>
                    <a:gd name="T10" fmla="*/ 0 w 442"/>
                    <a:gd name="T11" fmla="*/ 179 h 179"/>
                  </a:gdLst>
                  <a:ahLst/>
                  <a:cxnLst>
                    <a:cxn ang="0">
                      <a:pos x="T0" y="T1"/>
                    </a:cxn>
                    <a:cxn ang="0">
                      <a:pos x="T2" y="T3"/>
                    </a:cxn>
                    <a:cxn ang="0">
                      <a:pos x="T4" y="T5"/>
                    </a:cxn>
                    <a:cxn ang="0">
                      <a:pos x="T6" y="T7"/>
                    </a:cxn>
                    <a:cxn ang="0">
                      <a:pos x="T8" y="T9"/>
                    </a:cxn>
                    <a:cxn ang="0">
                      <a:pos x="T10" y="T11"/>
                    </a:cxn>
                  </a:cxnLst>
                  <a:rect l="0" t="0" r="r" b="b"/>
                  <a:pathLst>
                    <a:path w="442" h="179">
                      <a:moveTo>
                        <a:pt x="0" y="179"/>
                      </a:moveTo>
                      <a:cubicBezTo>
                        <a:pt x="0" y="179"/>
                        <a:pt x="0" y="179"/>
                        <a:pt x="0" y="179"/>
                      </a:cubicBezTo>
                      <a:cubicBezTo>
                        <a:pt x="290" y="179"/>
                        <a:pt x="290" y="179"/>
                        <a:pt x="290" y="179"/>
                      </a:cubicBezTo>
                      <a:cubicBezTo>
                        <a:pt x="442" y="179"/>
                        <a:pt x="442" y="179"/>
                        <a:pt x="442" y="179"/>
                      </a:cubicBezTo>
                      <a:cubicBezTo>
                        <a:pt x="442" y="9"/>
                        <a:pt x="442" y="9"/>
                        <a:pt x="442" y="9"/>
                      </a:cubicBezTo>
                      <a:cubicBezTo>
                        <a:pt x="283" y="0"/>
                        <a:pt x="122" y="57"/>
                        <a:pt x="0" y="17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1" name="Freeform 17"/>
                <p:cNvSpPr>
                  <a:spLocks/>
                </p:cNvSpPr>
                <p:nvPr/>
              </p:nvSpPr>
              <p:spPr bwMode="auto">
                <a:xfrm>
                  <a:off x="11297167" y="4746935"/>
                  <a:ext cx="229694" cy="631661"/>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2" name="Freeform 18"/>
                <p:cNvSpPr>
                  <a:spLocks noEditPoints="1"/>
                </p:cNvSpPr>
                <p:nvPr/>
              </p:nvSpPr>
              <p:spPr bwMode="auto">
                <a:xfrm>
                  <a:off x="11587798" y="4738729"/>
                  <a:ext cx="448840" cy="678537"/>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3" name="Freeform 19"/>
                <p:cNvSpPr>
                  <a:spLocks/>
                </p:cNvSpPr>
                <p:nvPr/>
              </p:nvSpPr>
              <p:spPr bwMode="auto">
                <a:xfrm>
                  <a:off x="10529564" y="5119601"/>
                  <a:ext cx="1660593" cy="486343"/>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4" name="Freeform 20"/>
                <p:cNvSpPr>
                  <a:spLocks/>
                </p:cNvSpPr>
                <p:nvPr/>
              </p:nvSpPr>
              <p:spPr bwMode="auto">
                <a:xfrm>
                  <a:off x="11013563" y="5252027"/>
                  <a:ext cx="213287" cy="260164"/>
                </a:xfrm>
                <a:custGeom>
                  <a:avLst/>
                  <a:gdLst>
                    <a:gd name="T0" fmla="*/ 43 w 130"/>
                    <a:gd name="T1" fmla="*/ 159 h 159"/>
                    <a:gd name="T2" fmla="*/ 43 w 130"/>
                    <a:gd name="T3" fmla="*/ 159 h 159"/>
                    <a:gd name="T4" fmla="*/ 130 w 130"/>
                    <a:gd name="T5" fmla="*/ 0 h 159"/>
                    <a:gd name="T6" fmla="*/ 77 w 130"/>
                    <a:gd name="T7" fmla="*/ 10 h 159"/>
                    <a:gd name="T8" fmla="*/ 0 w 130"/>
                    <a:gd name="T9" fmla="*/ 159 h 159"/>
                    <a:gd name="T10" fmla="*/ 43 w 130"/>
                    <a:gd name="T11" fmla="*/ 159 h 159"/>
                    <a:gd name="T12" fmla="*/ 43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3" y="159"/>
                      </a:moveTo>
                      <a:cubicBezTo>
                        <a:pt x="43" y="159"/>
                        <a:pt x="43" y="159"/>
                        <a:pt x="43" y="159"/>
                      </a:cubicBezTo>
                      <a:cubicBezTo>
                        <a:pt x="48" y="109"/>
                        <a:pt x="77" y="51"/>
                        <a:pt x="130" y="0"/>
                      </a:cubicBezTo>
                      <a:cubicBezTo>
                        <a:pt x="112" y="3"/>
                        <a:pt x="95" y="6"/>
                        <a:pt x="77" y="10"/>
                      </a:cubicBezTo>
                      <a:cubicBezTo>
                        <a:pt x="31" y="59"/>
                        <a:pt x="5" y="113"/>
                        <a:pt x="0" y="159"/>
                      </a:cubicBezTo>
                      <a:cubicBezTo>
                        <a:pt x="43" y="159"/>
                        <a:pt x="43" y="159"/>
                        <a:pt x="43" y="159"/>
                      </a:cubicBezTo>
                      <a:cubicBezTo>
                        <a:pt x="43" y="159"/>
                        <a:pt x="43" y="159"/>
                        <a:pt x="43"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5" name="Freeform 21"/>
                <p:cNvSpPr>
                  <a:spLocks/>
                </p:cNvSpPr>
                <p:nvPr/>
              </p:nvSpPr>
              <p:spPr bwMode="auto">
                <a:xfrm>
                  <a:off x="11700301" y="5261403"/>
                  <a:ext cx="64456" cy="24610"/>
                </a:xfrm>
                <a:custGeom>
                  <a:avLst/>
                  <a:gdLst>
                    <a:gd name="T0" fmla="*/ 39 w 39"/>
                    <a:gd name="T1" fmla="*/ 10 h 15"/>
                    <a:gd name="T2" fmla="*/ 39 w 39"/>
                    <a:gd name="T3" fmla="*/ 10 h 15"/>
                    <a:gd name="T4" fmla="*/ 6 w 39"/>
                    <a:gd name="T5" fmla="*/ 0 h 15"/>
                    <a:gd name="T6" fmla="*/ 0 w 39"/>
                    <a:gd name="T7" fmla="*/ 6 h 15"/>
                    <a:gd name="T8" fmla="*/ 35 w 39"/>
                    <a:gd name="T9" fmla="*/ 15 h 15"/>
                    <a:gd name="T10" fmla="*/ 39 w 39"/>
                    <a:gd name="T11" fmla="*/ 10 h 15"/>
                  </a:gdLst>
                  <a:ahLst/>
                  <a:cxnLst>
                    <a:cxn ang="0">
                      <a:pos x="T0" y="T1"/>
                    </a:cxn>
                    <a:cxn ang="0">
                      <a:pos x="T2" y="T3"/>
                    </a:cxn>
                    <a:cxn ang="0">
                      <a:pos x="T4" y="T5"/>
                    </a:cxn>
                    <a:cxn ang="0">
                      <a:pos x="T6" y="T7"/>
                    </a:cxn>
                    <a:cxn ang="0">
                      <a:pos x="T8" y="T9"/>
                    </a:cxn>
                    <a:cxn ang="0">
                      <a:pos x="T10" y="T11"/>
                    </a:cxn>
                  </a:cxnLst>
                  <a:rect l="0" t="0" r="r" b="b"/>
                  <a:pathLst>
                    <a:path w="39" h="15">
                      <a:moveTo>
                        <a:pt x="39" y="10"/>
                      </a:moveTo>
                      <a:cubicBezTo>
                        <a:pt x="39" y="10"/>
                        <a:pt x="39" y="10"/>
                        <a:pt x="39" y="10"/>
                      </a:cubicBezTo>
                      <a:cubicBezTo>
                        <a:pt x="28" y="6"/>
                        <a:pt x="17" y="3"/>
                        <a:pt x="6" y="0"/>
                      </a:cubicBezTo>
                      <a:cubicBezTo>
                        <a:pt x="4" y="2"/>
                        <a:pt x="2" y="4"/>
                        <a:pt x="0" y="6"/>
                      </a:cubicBezTo>
                      <a:cubicBezTo>
                        <a:pt x="11" y="9"/>
                        <a:pt x="23" y="12"/>
                        <a:pt x="35" y="15"/>
                      </a:cubicBezTo>
                      <a:cubicBezTo>
                        <a:pt x="36" y="13"/>
                        <a:pt x="38" y="12"/>
                        <a:pt x="39" y="1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6" name="Freeform 22"/>
                <p:cNvSpPr>
                  <a:spLocks/>
                </p:cNvSpPr>
                <p:nvPr/>
              </p:nvSpPr>
              <p:spPr bwMode="auto">
                <a:xfrm>
                  <a:off x="11576079" y="5271948"/>
                  <a:ext cx="181645" cy="240243"/>
                </a:xfrm>
                <a:custGeom>
                  <a:avLst/>
                  <a:gdLst>
                    <a:gd name="T0" fmla="*/ 43 w 111"/>
                    <a:gd name="T1" fmla="*/ 147 h 147"/>
                    <a:gd name="T2" fmla="*/ 43 w 111"/>
                    <a:gd name="T3" fmla="*/ 147 h 147"/>
                    <a:gd name="T4" fmla="*/ 111 w 111"/>
                    <a:gd name="T5" fmla="*/ 9 h 147"/>
                    <a:gd name="T6" fmla="*/ 76 w 111"/>
                    <a:gd name="T7" fmla="*/ 0 h 147"/>
                    <a:gd name="T8" fmla="*/ 0 w 111"/>
                    <a:gd name="T9" fmla="*/ 147 h 147"/>
                    <a:gd name="T10" fmla="*/ 43 w 111"/>
                    <a:gd name="T11" fmla="*/ 147 h 147"/>
                    <a:gd name="T12" fmla="*/ 43 w 111"/>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1" h="147">
                      <a:moveTo>
                        <a:pt x="43" y="147"/>
                      </a:moveTo>
                      <a:cubicBezTo>
                        <a:pt x="43" y="147"/>
                        <a:pt x="43" y="147"/>
                        <a:pt x="43" y="147"/>
                      </a:cubicBezTo>
                      <a:cubicBezTo>
                        <a:pt x="48" y="104"/>
                        <a:pt x="70" y="55"/>
                        <a:pt x="111" y="9"/>
                      </a:cubicBezTo>
                      <a:cubicBezTo>
                        <a:pt x="99" y="6"/>
                        <a:pt x="87" y="3"/>
                        <a:pt x="76" y="0"/>
                      </a:cubicBezTo>
                      <a:cubicBezTo>
                        <a:pt x="31"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7" name="Freeform 23"/>
                <p:cNvSpPr>
                  <a:spLocks/>
                </p:cNvSpPr>
                <p:nvPr/>
              </p:nvSpPr>
              <p:spPr bwMode="auto">
                <a:xfrm>
                  <a:off x="11182317" y="5239137"/>
                  <a:ext cx="414856" cy="283603"/>
                </a:xfrm>
                <a:custGeom>
                  <a:avLst/>
                  <a:gdLst>
                    <a:gd name="T0" fmla="*/ 40 w 253"/>
                    <a:gd name="T1" fmla="*/ 38 h 173"/>
                    <a:gd name="T2" fmla="*/ 40 w 253"/>
                    <a:gd name="T3" fmla="*/ 38 h 173"/>
                    <a:gd name="T4" fmla="*/ 9 w 253"/>
                    <a:gd name="T5" fmla="*/ 140 h 173"/>
                    <a:gd name="T6" fmla="*/ 70 w 253"/>
                    <a:gd name="T7" fmla="*/ 173 h 173"/>
                    <a:gd name="T8" fmla="*/ 146 w 253"/>
                    <a:gd name="T9" fmla="*/ 138 h 173"/>
                    <a:gd name="T10" fmla="*/ 232 w 253"/>
                    <a:gd name="T11" fmla="*/ 31 h 173"/>
                    <a:gd name="T12" fmla="*/ 253 w 253"/>
                    <a:gd name="T13" fmla="*/ 8 h 173"/>
                    <a:gd name="T14" fmla="*/ 213 w 253"/>
                    <a:gd name="T15" fmla="*/ 3 h 173"/>
                    <a:gd name="T16" fmla="*/ 184 w 253"/>
                    <a:gd name="T17" fmla="*/ 34 h 173"/>
                    <a:gd name="T18" fmla="*/ 79 w 253"/>
                    <a:gd name="T19" fmla="*/ 140 h 173"/>
                    <a:gd name="T20" fmla="*/ 87 w 253"/>
                    <a:gd name="T21" fmla="*/ 36 h 173"/>
                    <a:gd name="T22" fmla="*/ 123 w 253"/>
                    <a:gd name="T23" fmla="*/ 0 h 173"/>
                    <a:gd name="T24" fmla="*/ 76 w 253"/>
                    <a:gd name="T25" fmla="*/ 3 h 173"/>
                    <a:gd name="T26" fmla="*/ 40 w 253"/>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3">
                      <a:moveTo>
                        <a:pt x="40" y="38"/>
                      </a:moveTo>
                      <a:cubicBezTo>
                        <a:pt x="40" y="38"/>
                        <a:pt x="40" y="38"/>
                        <a:pt x="40" y="38"/>
                      </a:cubicBezTo>
                      <a:cubicBezTo>
                        <a:pt x="4" y="82"/>
                        <a:pt x="0" y="117"/>
                        <a:pt x="9" y="140"/>
                      </a:cubicBezTo>
                      <a:cubicBezTo>
                        <a:pt x="19" y="163"/>
                        <a:pt x="42" y="173"/>
                        <a:pt x="70" y="173"/>
                      </a:cubicBezTo>
                      <a:cubicBezTo>
                        <a:pt x="100" y="173"/>
                        <a:pt x="123" y="162"/>
                        <a:pt x="146" y="138"/>
                      </a:cubicBezTo>
                      <a:cubicBezTo>
                        <a:pt x="170" y="115"/>
                        <a:pt x="192" y="77"/>
                        <a:pt x="232" y="31"/>
                      </a:cubicBezTo>
                      <a:cubicBezTo>
                        <a:pt x="239" y="23"/>
                        <a:pt x="246" y="15"/>
                        <a:pt x="253" y="8"/>
                      </a:cubicBezTo>
                      <a:cubicBezTo>
                        <a:pt x="240" y="6"/>
                        <a:pt x="226" y="5"/>
                        <a:pt x="213" y="3"/>
                      </a:cubicBezTo>
                      <a:cubicBezTo>
                        <a:pt x="204" y="12"/>
                        <a:pt x="194" y="23"/>
                        <a:pt x="184" y="34"/>
                      </a:cubicBezTo>
                      <a:cubicBezTo>
                        <a:pt x="127" y="105"/>
                        <a:pt x="113" y="140"/>
                        <a:pt x="79" y="140"/>
                      </a:cubicBezTo>
                      <a:cubicBezTo>
                        <a:pt x="49" y="140"/>
                        <a:pt x="32" y="105"/>
                        <a:pt x="87" y="36"/>
                      </a:cubicBezTo>
                      <a:cubicBezTo>
                        <a:pt x="98" y="22"/>
                        <a:pt x="110" y="11"/>
                        <a:pt x="123" y="0"/>
                      </a:cubicBezTo>
                      <a:cubicBezTo>
                        <a:pt x="107" y="1"/>
                        <a:pt x="91" y="1"/>
                        <a:pt x="76" y="3"/>
                      </a:cubicBezTo>
                      <a:cubicBezTo>
                        <a:pt x="63" y="13"/>
                        <a:pt x="51" y="25"/>
                        <a:pt x="40"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8" name="Freeform 24"/>
                <p:cNvSpPr>
                  <a:spLocks/>
                </p:cNvSpPr>
                <p:nvPr/>
              </p:nvSpPr>
              <p:spPr bwMode="auto">
                <a:xfrm>
                  <a:off x="11749521" y="5304762"/>
                  <a:ext cx="288289" cy="217975"/>
                </a:xfrm>
                <a:custGeom>
                  <a:avLst/>
                  <a:gdLst>
                    <a:gd name="T0" fmla="*/ 9 w 176"/>
                    <a:gd name="T1" fmla="*/ 100 h 133"/>
                    <a:gd name="T2" fmla="*/ 9 w 176"/>
                    <a:gd name="T3" fmla="*/ 100 h 133"/>
                    <a:gd name="T4" fmla="*/ 70 w 176"/>
                    <a:gd name="T5" fmla="*/ 133 h 133"/>
                    <a:gd name="T6" fmla="*/ 146 w 176"/>
                    <a:gd name="T7" fmla="*/ 98 h 133"/>
                    <a:gd name="T8" fmla="*/ 176 w 176"/>
                    <a:gd name="T9" fmla="*/ 62 h 133"/>
                    <a:gd name="T10" fmla="*/ 145 w 176"/>
                    <a:gd name="T11" fmla="*/ 45 h 133"/>
                    <a:gd name="T12" fmla="*/ 79 w 176"/>
                    <a:gd name="T13" fmla="*/ 100 h 133"/>
                    <a:gd name="T14" fmla="*/ 74 w 176"/>
                    <a:gd name="T15" fmla="*/ 13 h 133"/>
                    <a:gd name="T16" fmla="*/ 39 w 176"/>
                    <a:gd name="T17" fmla="*/ 0 h 133"/>
                    <a:gd name="T18" fmla="*/ 9 w 176"/>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33">
                      <a:moveTo>
                        <a:pt x="9" y="100"/>
                      </a:moveTo>
                      <a:cubicBezTo>
                        <a:pt x="9" y="100"/>
                        <a:pt x="9" y="100"/>
                        <a:pt x="9" y="100"/>
                      </a:cubicBezTo>
                      <a:cubicBezTo>
                        <a:pt x="19" y="123"/>
                        <a:pt x="42" y="133"/>
                        <a:pt x="70" y="133"/>
                      </a:cubicBezTo>
                      <a:cubicBezTo>
                        <a:pt x="100" y="133"/>
                        <a:pt x="123" y="122"/>
                        <a:pt x="146" y="98"/>
                      </a:cubicBezTo>
                      <a:cubicBezTo>
                        <a:pt x="156" y="88"/>
                        <a:pt x="166" y="76"/>
                        <a:pt x="176" y="62"/>
                      </a:cubicBezTo>
                      <a:cubicBezTo>
                        <a:pt x="166" y="56"/>
                        <a:pt x="156" y="50"/>
                        <a:pt x="145" y="45"/>
                      </a:cubicBezTo>
                      <a:cubicBezTo>
                        <a:pt x="119" y="82"/>
                        <a:pt x="102" y="100"/>
                        <a:pt x="79" y="100"/>
                      </a:cubicBezTo>
                      <a:cubicBezTo>
                        <a:pt x="51" y="100"/>
                        <a:pt x="35" y="71"/>
                        <a:pt x="74" y="13"/>
                      </a:cubicBezTo>
                      <a:cubicBezTo>
                        <a:pt x="62" y="8"/>
                        <a:pt x="51" y="4"/>
                        <a:pt x="39" y="0"/>
                      </a:cubicBezTo>
                      <a:cubicBezTo>
                        <a:pt x="4" y="43"/>
                        <a:pt x="0" y="78"/>
                        <a:pt x="9"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9" name="Freeform 25"/>
                <p:cNvSpPr>
                  <a:spLocks/>
                </p:cNvSpPr>
                <p:nvPr/>
              </p:nvSpPr>
              <p:spPr bwMode="auto">
                <a:xfrm>
                  <a:off x="12123359" y="5460626"/>
                  <a:ext cx="66798" cy="62111"/>
                </a:xfrm>
                <a:custGeom>
                  <a:avLst/>
                  <a:gdLst>
                    <a:gd name="T0" fmla="*/ 0 w 41"/>
                    <a:gd name="T1" fmla="*/ 0 h 38"/>
                    <a:gd name="T2" fmla="*/ 0 w 41"/>
                    <a:gd name="T3" fmla="*/ 0 h 38"/>
                    <a:gd name="T4" fmla="*/ 0 w 41"/>
                    <a:gd name="T5" fmla="*/ 5 h 38"/>
                    <a:gd name="T6" fmla="*/ 38 w 41"/>
                    <a:gd name="T7" fmla="*/ 38 h 38"/>
                    <a:gd name="T8" fmla="*/ 41 w 41"/>
                    <a:gd name="T9" fmla="*/ 32 h 38"/>
                    <a:gd name="T10" fmla="*/ 41 w 41"/>
                    <a:gd name="T11" fmla="*/ 31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3" y="25"/>
                        <a:pt x="15" y="36"/>
                        <a:pt x="38" y="38"/>
                      </a:cubicBezTo>
                      <a:cubicBezTo>
                        <a:pt x="41" y="32"/>
                        <a:pt x="41" y="32"/>
                        <a:pt x="41" y="32"/>
                      </a:cubicBezTo>
                      <a:cubicBezTo>
                        <a:pt x="41" y="31"/>
                        <a:pt x="41" y="31"/>
                        <a:pt x="41" y="31"/>
                      </a:cubicBezTo>
                      <a:cubicBezTo>
                        <a:pt x="28"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0" name="Freeform 26"/>
                <p:cNvSpPr>
                  <a:spLocks/>
                </p:cNvSpPr>
                <p:nvPr/>
              </p:nvSpPr>
              <p:spPr bwMode="auto">
                <a:xfrm>
                  <a:off x="10926835" y="5083271"/>
                  <a:ext cx="155864" cy="428918"/>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30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30" y="65"/>
                      </a:cubicBezTo>
                      <a:cubicBezTo>
                        <a:pt x="21" y="68"/>
                        <a:pt x="11" y="72"/>
                        <a:pt x="0" y="74"/>
                      </a:cubicBezTo>
                      <a:cubicBezTo>
                        <a:pt x="0" y="39"/>
                        <a:pt x="0" y="39"/>
                        <a:pt x="0" y="39"/>
                      </a:cubicBezTo>
                      <a:cubicBezTo>
                        <a:pt x="7" y="37"/>
                        <a:pt x="14" y="34"/>
                        <a:pt x="20" y="32"/>
                      </a:cubicBezTo>
                      <a:cubicBezTo>
                        <a:pt x="26" y="30"/>
                        <a:pt x="33" y="27"/>
                        <a:pt x="39" y="24"/>
                      </a:cubicBezTo>
                      <a:cubicBezTo>
                        <a:pt x="45" y="20"/>
                        <a:pt x="52"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1" name="Freeform 27"/>
                <p:cNvSpPr>
                  <a:spLocks/>
                </p:cNvSpPr>
                <p:nvPr/>
              </p:nvSpPr>
              <p:spPr bwMode="auto">
                <a:xfrm>
                  <a:off x="11472947" y="5083271"/>
                  <a:ext cx="155864" cy="428918"/>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29" y="65"/>
                      </a:cubicBezTo>
                      <a:cubicBezTo>
                        <a:pt x="21" y="68"/>
                        <a:pt x="11" y="72"/>
                        <a:pt x="0" y="74"/>
                      </a:cubicBezTo>
                      <a:cubicBezTo>
                        <a:pt x="0" y="39"/>
                        <a:pt x="0" y="39"/>
                        <a:pt x="0" y="39"/>
                      </a:cubicBezTo>
                      <a:cubicBezTo>
                        <a:pt x="7" y="37"/>
                        <a:pt x="13" y="34"/>
                        <a:pt x="20" y="32"/>
                      </a:cubicBezTo>
                      <a:cubicBezTo>
                        <a:pt x="26" y="30"/>
                        <a:pt x="33" y="27"/>
                        <a:pt x="39" y="24"/>
                      </a:cubicBezTo>
                      <a:cubicBezTo>
                        <a:pt x="45" y="20"/>
                        <a:pt x="51"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2" name="Freeform 28"/>
                <p:cNvSpPr>
                  <a:spLocks noEditPoints="1"/>
                </p:cNvSpPr>
                <p:nvPr/>
              </p:nvSpPr>
              <p:spPr bwMode="auto">
                <a:xfrm>
                  <a:off x="11148333" y="5078584"/>
                  <a:ext cx="294148" cy="444155"/>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59" y="271"/>
                        <a:pt x="38" y="260"/>
                        <a:pt x="23" y="238"/>
                      </a:cubicBezTo>
                      <a:cubicBezTo>
                        <a:pt x="7"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3" name="Freeform 29"/>
                <p:cNvSpPr>
                  <a:spLocks noEditPoints="1"/>
                </p:cNvSpPr>
                <p:nvPr/>
              </p:nvSpPr>
              <p:spPr bwMode="auto">
                <a:xfrm>
                  <a:off x="11696785" y="5078584"/>
                  <a:ext cx="295321" cy="444155"/>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60" y="271"/>
                        <a:pt x="38" y="260"/>
                        <a:pt x="23" y="238"/>
                      </a:cubicBezTo>
                      <a:cubicBezTo>
                        <a:pt x="8"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4" name="Freeform 30"/>
                <p:cNvSpPr>
                  <a:spLocks/>
                </p:cNvSpPr>
                <p:nvPr/>
              </p:nvSpPr>
              <p:spPr bwMode="auto">
                <a:xfrm>
                  <a:off x="11162390" y="5391484"/>
                  <a:ext cx="910571" cy="214460"/>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5" name="Freeform 31"/>
                <p:cNvSpPr>
                  <a:spLocks/>
                </p:cNvSpPr>
                <p:nvPr/>
              </p:nvSpPr>
              <p:spPr bwMode="auto">
                <a:xfrm>
                  <a:off x="12097571" y="4787948"/>
                  <a:ext cx="92582" cy="587127"/>
                </a:xfrm>
                <a:custGeom>
                  <a:avLst/>
                  <a:gdLst>
                    <a:gd name="T0" fmla="*/ 36 w 57"/>
                    <a:gd name="T1" fmla="*/ 25 h 358"/>
                    <a:gd name="T2" fmla="*/ 36 w 57"/>
                    <a:gd name="T3" fmla="*/ 25 h 358"/>
                    <a:gd name="T4" fmla="*/ 0 w 57"/>
                    <a:gd name="T5" fmla="*/ 185 h 358"/>
                    <a:gd name="T6" fmla="*/ 35 w 57"/>
                    <a:gd name="T7" fmla="*/ 333 h 358"/>
                    <a:gd name="T8" fmla="*/ 57 w 57"/>
                    <a:gd name="T9" fmla="*/ 358 h 358"/>
                    <a:gd name="T10" fmla="*/ 57 w 57"/>
                    <a:gd name="T11" fmla="*/ 0 h 358"/>
                    <a:gd name="T12" fmla="*/ 36 w 57"/>
                    <a:gd name="T13" fmla="*/ 25 h 358"/>
                  </a:gdLst>
                  <a:ahLst/>
                  <a:cxnLst>
                    <a:cxn ang="0">
                      <a:pos x="T0" y="T1"/>
                    </a:cxn>
                    <a:cxn ang="0">
                      <a:pos x="T2" y="T3"/>
                    </a:cxn>
                    <a:cxn ang="0">
                      <a:pos x="T4" y="T5"/>
                    </a:cxn>
                    <a:cxn ang="0">
                      <a:pos x="T6" y="T7"/>
                    </a:cxn>
                    <a:cxn ang="0">
                      <a:pos x="T8" y="T9"/>
                    </a:cxn>
                    <a:cxn ang="0">
                      <a:pos x="T10" y="T11"/>
                    </a:cxn>
                    <a:cxn ang="0">
                      <a:pos x="T12" y="T13"/>
                    </a:cxn>
                  </a:cxnLst>
                  <a:rect l="0" t="0" r="r" b="b"/>
                  <a:pathLst>
                    <a:path w="57" h="358">
                      <a:moveTo>
                        <a:pt x="36" y="25"/>
                      </a:moveTo>
                      <a:cubicBezTo>
                        <a:pt x="36" y="25"/>
                        <a:pt x="36" y="25"/>
                        <a:pt x="36" y="25"/>
                      </a:cubicBezTo>
                      <a:cubicBezTo>
                        <a:pt x="12" y="61"/>
                        <a:pt x="0" y="114"/>
                        <a:pt x="0" y="185"/>
                      </a:cubicBezTo>
                      <a:cubicBezTo>
                        <a:pt x="0" y="250"/>
                        <a:pt x="11" y="299"/>
                        <a:pt x="35" y="333"/>
                      </a:cubicBezTo>
                      <a:cubicBezTo>
                        <a:pt x="42" y="343"/>
                        <a:pt x="49" y="351"/>
                        <a:pt x="57" y="358"/>
                      </a:cubicBezTo>
                      <a:cubicBezTo>
                        <a:pt x="57" y="0"/>
                        <a:pt x="57" y="0"/>
                        <a:pt x="57" y="0"/>
                      </a:cubicBezTo>
                      <a:cubicBezTo>
                        <a:pt x="50" y="7"/>
                        <a:pt x="43" y="15"/>
                        <a:pt x="36" y="2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6" name="Freeform 32"/>
                <p:cNvSpPr>
                  <a:spLocks/>
                </p:cNvSpPr>
                <p:nvPr/>
              </p:nvSpPr>
              <p:spPr bwMode="auto">
                <a:xfrm>
                  <a:off x="12061278" y="5079752"/>
                  <a:ext cx="128909" cy="442983"/>
                </a:xfrm>
                <a:custGeom>
                  <a:avLst/>
                  <a:gdLst>
                    <a:gd name="T0" fmla="*/ 43 w 79"/>
                    <a:gd name="T1" fmla="*/ 138 h 270"/>
                    <a:gd name="T2" fmla="*/ 43 w 79"/>
                    <a:gd name="T3" fmla="*/ 138 h 270"/>
                    <a:gd name="T4" fmla="*/ 79 w 79"/>
                    <a:gd name="T5" fmla="*/ 35 h 270"/>
                    <a:gd name="T6" fmla="*/ 79 w 79"/>
                    <a:gd name="T7" fmla="*/ 0 h 270"/>
                    <a:gd name="T8" fmla="*/ 24 w 79"/>
                    <a:gd name="T9" fmla="*/ 35 h 270"/>
                    <a:gd name="T10" fmla="*/ 0 w 79"/>
                    <a:gd name="T11" fmla="*/ 140 h 270"/>
                    <a:gd name="T12" fmla="*/ 23 w 79"/>
                    <a:gd name="T13" fmla="*/ 237 h 270"/>
                    <a:gd name="T14" fmla="*/ 79 w 79"/>
                    <a:gd name="T15" fmla="*/ 270 h 270"/>
                    <a:gd name="T16" fmla="*/ 79 w 79"/>
                    <a:gd name="T17" fmla="*/ 235 h 270"/>
                    <a:gd name="T18" fmla="*/ 43 w 79"/>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270">
                      <a:moveTo>
                        <a:pt x="43" y="138"/>
                      </a:moveTo>
                      <a:cubicBezTo>
                        <a:pt x="43" y="138"/>
                        <a:pt x="43" y="138"/>
                        <a:pt x="43" y="138"/>
                      </a:cubicBezTo>
                      <a:cubicBezTo>
                        <a:pt x="43" y="77"/>
                        <a:pt x="55" y="43"/>
                        <a:pt x="79" y="35"/>
                      </a:cubicBezTo>
                      <a:cubicBezTo>
                        <a:pt x="79" y="0"/>
                        <a:pt x="79" y="0"/>
                        <a:pt x="79" y="0"/>
                      </a:cubicBezTo>
                      <a:cubicBezTo>
                        <a:pt x="56" y="3"/>
                        <a:pt x="37" y="15"/>
                        <a:pt x="24" y="35"/>
                      </a:cubicBezTo>
                      <a:cubicBezTo>
                        <a:pt x="8" y="59"/>
                        <a:pt x="0" y="94"/>
                        <a:pt x="0" y="140"/>
                      </a:cubicBezTo>
                      <a:cubicBezTo>
                        <a:pt x="0" y="182"/>
                        <a:pt x="7" y="215"/>
                        <a:pt x="23" y="237"/>
                      </a:cubicBezTo>
                      <a:cubicBezTo>
                        <a:pt x="37" y="257"/>
                        <a:pt x="55" y="268"/>
                        <a:pt x="79" y="270"/>
                      </a:cubicBezTo>
                      <a:cubicBezTo>
                        <a:pt x="79" y="235"/>
                        <a:pt x="79" y="235"/>
                        <a:pt x="79" y="235"/>
                      </a:cubicBezTo>
                      <a:cubicBezTo>
                        <a:pt x="55" y="228"/>
                        <a:pt x="43" y="196"/>
                        <a:pt x="43"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nvGrpSpPr>
            <p:cNvPr id="47" name="Group 46"/>
            <p:cNvGrpSpPr/>
            <p:nvPr/>
          </p:nvGrpSpPr>
          <p:grpSpPr>
            <a:xfrm>
              <a:off x="11137698" y="8144556"/>
              <a:ext cx="792957" cy="454737"/>
              <a:chOff x="11268654" y="5874852"/>
              <a:chExt cx="475079" cy="272443"/>
            </a:xfrm>
          </p:grpSpPr>
          <p:grpSp>
            <p:nvGrpSpPr>
              <p:cNvPr id="44" name="Group 43"/>
              <p:cNvGrpSpPr/>
              <p:nvPr/>
            </p:nvGrpSpPr>
            <p:grpSpPr>
              <a:xfrm>
                <a:off x="11527880" y="5875025"/>
                <a:ext cx="215853" cy="265975"/>
                <a:chOff x="11191876" y="6141629"/>
                <a:chExt cx="215853" cy="265975"/>
              </a:xfrm>
            </p:grpSpPr>
            <p:sp>
              <p:nvSpPr>
                <p:cNvPr id="739" name="Freeform 380"/>
                <p:cNvSpPr>
                  <a:spLocks noEditPoints="1"/>
                </p:cNvSpPr>
                <p:nvPr/>
              </p:nvSpPr>
              <p:spPr bwMode="auto">
                <a:xfrm>
                  <a:off x="11191876" y="6141629"/>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0" name="Freeform 381"/>
                <p:cNvSpPr>
                  <a:spLocks/>
                </p:cNvSpPr>
                <p:nvPr/>
              </p:nvSpPr>
              <p:spPr bwMode="auto">
                <a:xfrm>
                  <a:off x="11260593" y="6141629"/>
                  <a:ext cx="30721" cy="71142"/>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1" name="Freeform 382"/>
                <p:cNvSpPr>
                  <a:spLocks noEditPoints="1"/>
                </p:cNvSpPr>
                <p:nvPr/>
              </p:nvSpPr>
              <p:spPr bwMode="auto">
                <a:xfrm>
                  <a:off x="11310716" y="614162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3" name="Freeform 394"/>
                <p:cNvSpPr>
                  <a:spLocks/>
                </p:cNvSpPr>
                <p:nvPr/>
              </p:nvSpPr>
              <p:spPr bwMode="auto">
                <a:xfrm>
                  <a:off x="11377008" y="6141629"/>
                  <a:ext cx="30721" cy="71142"/>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5" name="Freeform 396"/>
                <p:cNvSpPr>
                  <a:spLocks noEditPoints="1"/>
                </p:cNvSpPr>
                <p:nvPr/>
              </p:nvSpPr>
              <p:spPr bwMode="auto">
                <a:xfrm>
                  <a:off x="11191876" y="6234599"/>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6" name="Freeform 397"/>
                <p:cNvSpPr>
                  <a:spLocks/>
                </p:cNvSpPr>
                <p:nvPr/>
              </p:nvSpPr>
              <p:spPr bwMode="auto">
                <a:xfrm>
                  <a:off x="11260593" y="62345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7" name="Freeform 398"/>
                <p:cNvSpPr>
                  <a:spLocks noEditPoints="1"/>
                </p:cNvSpPr>
                <p:nvPr/>
              </p:nvSpPr>
              <p:spPr bwMode="auto">
                <a:xfrm>
                  <a:off x="11310716" y="623459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8" name="Freeform 399"/>
                <p:cNvSpPr>
                  <a:spLocks noEditPoints="1"/>
                </p:cNvSpPr>
                <p:nvPr/>
              </p:nvSpPr>
              <p:spPr bwMode="auto">
                <a:xfrm>
                  <a:off x="11191876" y="6334845"/>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9" name="Freeform 400"/>
                <p:cNvSpPr>
                  <a:spLocks noEditPoints="1"/>
                </p:cNvSpPr>
                <p:nvPr/>
              </p:nvSpPr>
              <p:spPr bwMode="auto">
                <a:xfrm>
                  <a:off x="11254126" y="6334845"/>
                  <a:ext cx="50123" cy="72759"/>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nvGrpSpPr>
              <p:cNvPr id="46" name="Group 45"/>
              <p:cNvGrpSpPr/>
              <p:nvPr/>
            </p:nvGrpSpPr>
            <p:grpSpPr>
              <a:xfrm>
                <a:off x="11268654" y="5874852"/>
                <a:ext cx="469471" cy="272443"/>
                <a:chOff x="11254126" y="5843315"/>
                <a:chExt cx="469471" cy="272443"/>
              </a:xfrm>
            </p:grpSpPr>
            <p:sp>
              <p:nvSpPr>
                <p:cNvPr id="737" name="Freeform 378"/>
                <p:cNvSpPr>
                  <a:spLocks/>
                </p:cNvSpPr>
                <p:nvPr/>
              </p:nvSpPr>
              <p:spPr bwMode="auto">
                <a:xfrm>
                  <a:off x="11260593" y="5843315"/>
                  <a:ext cx="30721" cy="70334"/>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38" name="Freeform 379"/>
                <p:cNvSpPr>
                  <a:spLocks noEditPoints="1"/>
                </p:cNvSpPr>
                <p:nvPr/>
              </p:nvSpPr>
              <p:spPr bwMode="auto">
                <a:xfrm>
                  <a:off x="11310716" y="5843315"/>
                  <a:ext cx="51740" cy="71951"/>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3" name="Freeform 384"/>
                <p:cNvSpPr>
                  <a:spLocks noEditPoints="1"/>
                </p:cNvSpPr>
                <p:nvPr/>
              </p:nvSpPr>
              <p:spPr bwMode="auto">
                <a:xfrm>
                  <a:off x="11254126" y="5942753"/>
                  <a:ext cx="50123" cy="72759"/>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4" name="Freeform 385"/>
                <p:cNvSpPr>
                  <a:spLocks/>
                </p:cNvSpPr>
                <p:nvPr/>
              </p:nvSpPr>
              <p:spPr bwMode="auto">
                <a:xfrm>
                  <a:off x="11318801" y="5942753"/>
                  <a:ext cx="29104" cy="71142"/>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6" name="Freeform 387"/>
                <p:cNvSpPr>
                  <a:spLocks/>
                </p:cNvSpPr>
                <p:nvPr/>
              </p:nvSpPr>
              <p:spPr bwMode="auto">
                <a:xfrm>
                  <a:off x="11692876" y="5931309"/>
                  <a:ext cx="30721" cy="71142"/>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7" name="Freeform 388"/>
                <p:cNvSpPr>
                  <a:spLocks noEditPoints="1"/>
                </p:cNvSpPr>
                <p:nvPr/>
              </p:nvSpPr>
              <p:spPr bwMode="auto">
                <a:xfrm>
                  <a:off x="11431982" y="5843315"/>
                  <a:ext cx="51740" cy="71951"/>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8" name="Freeform 389"/>
                <p:cNvSpPr>
                  <a:spLocks noEditPoints="1"/>
                </p:cNvSpPr>
                <p:nvPr/>
              </p:nvSpPr>
              <p:spPr bwMode="auto">
                <a:xfrm>
                  <a:off x="11431982" y="5942753"/>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9" name="Freeform 390"/>
                <p:cNvSpPr>
                  <a:spLocks/>
                </p:cNvSpPr>
                <p:nvPr/>
              </p:nvSpPr>
              <p:spPr bwMode="auto">
                <a:xfrm>
                  <a:off x="11440066" y="60429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0" name="Freeform 391"/>
                <p:cNvSpPr>
                  <a:spLocks/>
                </p:cNvSpPr>
                <p:nvPr/>
              </p:nvSpPr>
              <p:spPr bwMode="auto">
                <a:xfrm>
                  <a:off x="11260593" y="60429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2" name="Freeform 393"/>
                <p:cNvSpPr>
                  <a:spLocks/>
                </p:cNvSpPr>
                <p:nvPr/>
              </p:nvSpPr>
              <p:spPr bwMode="auto">
                <a:xfrm>
                  <a:off x="11377008" y="5843315"/>
                  <a:ext cx="30721" cy="70334"/>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4" name="Freeform 395"/>
                <p:cNvSpPr>
                  <a:spLocks noEditPoints="1"/>
                </p:cNvSpPr>
                <p:nvPr/>
              </p:nvSpPr>
              <p:spPr bwMode="auto">
                <a:xfrm>
                  <a:off x="11370541" y="5942753"/>
                  <a:ext cx="51740" cy="72759"/>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60" name="Freeform 401"/>
                <p:cNvSpPr>
                  <a:spLocks/>
                </p:cNvSpPr>
                <p:nvPr/>
              </p:nvSpPr>
              <p:spPr bwMode="auto">
                <a:xfrm>
                  <a:off x="11377008" y="6042999"/>
                  <a:ext cx="30721" cy="71142"/>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61" name="Freeform 402"/>
                <p:cNvSpPr>
                  <a:spLocks noEditPoints="1"/>
                </p:cNvSpPr>
                <p:nvPr/>
              </p:nvSpPr>
              <p:spPr bwMode="auto">
                <a:xfrm>
                  <a:off x="11310716" y="604299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89" y="1"/>
            <a:ext cx="2187575" cy="804685"/>
          </a:xfrm>
          <a:prstGeom prst="rect">
            <a:avLst/>
          </a:prstGeom>
        </p:spPr>
      </p:pic>
      <p:sp>
        <p:nvSpPr>
          <p:cNvPr id="4" name="TextBox 3"/>
          <p:cNvSpPr txBox="1"/>
          <p:nvPr/>
        </p:nvSpPr>
        <p:spPr>
          <a:xfrm>
            <a:off x="224343" y="4116367"/>
            <a:ext cx="6171695" cy="2293232"/>
          </a:xfrm>
          <a:prstGeom prst="rect">
            <a:avLst/>
          </a:prstGeom>
        </p:spPr>
        <p:txBody>
          <a:bodyPr vert="horz" wrap="square" lIns="91440" tIns="91440" rIns="91440" bIns="91440" rtlCol="0" anchor="t">
            <a:noAutofit/>
          </a:bodyPr>
          <a:lstStyle/>
          <a:p>
            <a:pPr algn="ctr" defTabSz="914325">
              <a:spcBef>
                <a:spcPts val="1200"/>
              </a:spcBef>
              <a:defRPr/>
            </a:pPr>
            <a:r>
              <a:rPr lang="en-US" sz="2800" b="1" dirty="0">
                <a:solidFill>
                  <a:srgbClr val="0072C6"/>
                </a:solidFill>
                <a:latin typeface="Segoe UI Light"/>
              </a:rPr>
              <a:t>Maximizing Customer Value and Retention through Customer Analytics</a:t>
            </a:r>
          </a:p>
          <a:p>
            <a:pPr algn="ctr" defTabSz="914325">
              <a:spcBef>
                <a:spcPts val="1200"/>
              </a:spcBef>
              <a:defRPr/>
            </a:pPr>
            <a:endParaRPr lang="en-US" sz="500" b="1" spc="-100" dirty="0">
              <a:ln w="3175">
                <a:noFill/>
              </a:ln>
              <a:solidFill>
                <a:srgbClr val="0072C6"/>
              </a:solidFill>
              <a:latin typeface="Segoe UI Light"/>
            </a:endParaRPr>
          </a:p>
          <a:p>
            <a:pPr algn="ctr" defTabSz="914325">
              <a:spcBef>
                <a:spcPts val="1200"/>
              </a:spcBef>
              <a:defRPr/>
            </a:pPr>
            <a:r>
              <a:rPr lang="en-US" sz="2000" b="1" spc="-100" dirty="0">
                <a:ln w="3175">
                  <a:noFill/>
                </a:ln>
                <a:solidFill>
                  <a:srgbClr val="0072C6"/>
                </a:solidFill>
                <a:latin typeface="Segoe UI Light"/>
              </a:rPr>
              <a:t>Microsoft Azure </a:t>
            </a:r>
            <a:r>
              <a:rPr lang="en-US" sz="2000" b="1" spc="-100" dirty="0" err="1">
                <a:ln w="3175">
                  <a:noFill/>
                </a:ln>
                <a:solidFill>
                  <a:srgbClr val="0072C6"/>
                </a:solidFill>
                <a:latin typeface="Segoe UI Light"/>
              </a:rPr>
              <a:t>HiPo</a:t>
            </a:r>
            <a:r>
              <a:rPr lang="en-US" sz="2000" b="1" spc="-100" dirty="0">
                <a:ln w="3175">
                  <a:noFill/>
                </a:ln>
                <a:solidFill>
                  <a:srgbClr val="0072C6"/>
                </a:solidFill>
                <a:latin typeface="Segoe UI Light"/>
              </a:rPr>
              <a:t> Team</a:t>
            </a:r>
          </a:p>
          <a:p>
            <a:pPr algn="ctr" defTabSz="914325">
              <a:spcBef>
                <a:spcPts val="1200"/>
              </a:spcBef>
              <a:defRPr/>
            </a:pPr>
            <a:r>
              <a:rPr lang="en-US" sz="2000" b="1" spc="-100" dirty="0">
                <a:ln w="3175">
                  <a:noFill/>
                </a:ln>
                <a:solidFill>
                  <a:srgbClr val="0072C6"/>
                </a:solidFill>
                <a:latin typeface="Segoe UI Light"/>
              </a:rPr>
              <a:t>Solution Blueprint Overview</a:t>
            </a:r>
            <a:endParaRPr lang="en-US" sz="1100" b="1" spc="-100" dirty="0">
              <a:ln w="3175">
                <a:noFill/>
              </a:ln>
              <a:solidFill>
                <a:srgbClr val="0072C6"/>
              </a:solidFill>
              <a:latin typeface="Segoe UI Light"/>
            </a:endParaRPr>
          </a:p>
          <a:p>
            <a:pPr algn="ctr"/>
            <a:endParaRPr lang="en-US" sz="2800" b="1"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608649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107078"/>
            <a:ext cx="9122229" cy="1094087"/>
          </a:xfrm>
        </p:spPr>
        <p:txBody>
          <a:bodyPr/>
          <a:lstStyle/>
          <a:p>
            <a:pPr algn="ctr"/>
            <a:r>
              <a:rPr lang="en-US" sz="3200" b="1" dirty="0"/>
              <a:t>What game will you want to go with that burger? </a:t>
            </a:r>
            <a:r>
              <a:rPr lang="en-US" sz="3200" b="1" dirty="0" err="1"/>
              <a:t>Ziosk</a:t>
            </a:r>
            <a:r>
              <a:rPr lang="en-US" sz="3200" b="1" dirty="0"/>
              <a:t> may already know.</a:t>
            </a:r>
          </a:p>
        </p:txBody>
      </p:sp>
      <p:pic>
        <p:nvPicPr>
          <p:cNvPr id="7" name="Picture 6"/>
          <p:cNvPicPr>
            <a:picLocks noChangeAspect="1"/>
          </p:cNvPicPr>
          <p:nvPr/>
        </p:nvPicPr>
        <p:blipFill>
          <a:blip r:embed="rId2"/>
          <a:stretch>
            <a:fillRect/>
          </a:stretch>
        </p:blipFill>
        <p:spPr>
          <a:xfrm>
            <a:off x="664761" y="3510379"/>
            <a:ext cx="5537092" cy="3174167"/>
          </a:xfrm>
          <a:prstGeom prst="rect">
            <a:avLst/>
          </a:prstGeom>
        </p:spPr>
      </p:pic>
      <p:sp>
        <p:nvSpPr>
          <p:cNvPr id="8" name="TextBox 7"/>
          <p:cNvSpPr txBox="1"/>
          <p:nvPr/>
        </p:nvSpPr>
        <p:spPr>
          <a:xfrm>
            <a:off x="664761" y="1328058"/>
            <a:ext cx="10874096" cy="2182322"/>
          </a:xfrm>
          <a:prstGeom prst="rect">
            <a:avLst/>
          </a:prstGeom>
          <a:solidFill>
            <a:srgbClr val="E4E4E4">
              <a:alpha val="70000"/>
            </a:srgbClr>
          </a:solidFill>
        </p:spPr>
        <p:txBody>
          <a:bodyPr vert="horz" wrap="square" lIns="91440" tIns="91440" rIns="91440" bIns="91440" rtlCol="0" anchor="t">
            <a:noAutofit/>
          </a:bodyPr>
          <a:lstStyle/>
          <a:p>
            <a:pPr marL="171450" indent="-171450">
              <a:buFont typeface="Wingdings" pitchFamily="2" charset="2"/>
              <a:buChar char="§"/>
            </a:pPr>
            <a:r>
              <a:rPr lang="en-US" sz="1400" dirty="0"/>
              <a:t>Azure Big Data and Machine Learning will predict your preferences and serve them up as part of a better dining experience. The goal is to create personalized experiences that result in happier guests and more business.</a:t>
            </a:r>
          </a:p>
          <a:p>
            <a:endParaRPr lang="en-US" sz="1400" dirty="0"/>
          </a:p>
          <a:p>
            <a:pPr marL="171450" indent="-171450">
              <a:buFont typeface="Wingdings" pitchFamily="2" charset="2"/>
              <a:buChar char="§"/>
            </a:pPr>
            <a:r>
              <a:rPr lang="en-US" sz="1400" dirty="0"/>
              <a:t>“Our challenge is to understand what drives guest behavior and use that insight to give guests more of what they want, when they want it,” says Kevin Mowry, Chief Software Architect at </a:t>
            </a:r>
            <a:r>
              <a:rPr lang="en-US" sz="1400" dirty="0" err="1"/>
              <a:t>Ziosk</a:t>
            </a:r>
            <a:r>
              <a:rPr lang="en-US" sz="1400" dirty="0"/>
              <a:t>.</a:t>
            </a:r>
          </a:p>
          <a:p>
            <a:endParaRPr lang="en-US" sz="1400" dirty="0"/>
          </a:p>
          <a:p>
            <a:pPr marL="171450" indent="-171450">
              <a:buFont typeface="Wingdings" pitchFamily="2" charset="2"/>
              <a:buChar char="§"/>
            </a:pPr>
            <a:r>
              <a:rPr lang="en-US" sz="1400" dirty="0" err="1"/>
              <a:t>Ziosk’s</a:t>
            </a:r>
            <a:r>
              <a:rPr lang="en-US" sz="1400" dirty="0"/>
              <a:t> customers—the restaurants—now receive actionable intelligence in real time to in-store managers that can significantly improve the operations of most restaurants.</a:t>
            </a:r>
            <a:endParaRPr lang="en-US" sz="1400" dirty="0">
              <a:latin typeface="Segoe UI" pitchFamily="34" charset="0"/>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9357652" y="5314600"/>
            <a:ext cx="2834348" cy="1543400"/>
          </a:xfrm>
          <a:prstGeom prst="rect">
            <a:avLst/>
          </a:prstGeom>
        </p:spPr>
      </p:pic>
      <p:sp>
        <p:nvSpPr>
          <p:cNvPr id="9" name="TextBox 8"/>
          <p:cNvSpPr txBox="1"/>
          <p:nvPr/>
        </p:nvSpPr>
        <p:spPr>
          <a:xfrm>
            <a:off x="6201854" y="3510379"/>
            <a:ext cx="5337004" cy="2182322"/>
          </a:xfrm>
          <a:prstGeom prst="rect">
            <a:avLst/>
          </a:prstGeom>
          <a:solidFill>
            <a:srgbClr val="E4E4E4">
              <a:alpha val="70000"/>
            </a:srgbClr>
          </a:solidFill>
        </p:spPr>
        <p:txBody>
          <a:bodyPr vert="horz" wrap="square" lIns="91440" tIns="91440" rIns="91440" bIns="91440" rtlCol="0" anchor="t">
            <a:noAutofit/>
          </a:bodyPr>
          <a:lstStyle/>
          <a:p>
            <a:pPr marL="171450" indent="-171450">
              <a:buFont typeface="Wingdings" pitchFamily="2" charset="2"/>
              <a:buChar char="§"/>
            </a:pPr>
            <a:endParaRPr lang="en-US" sz="1400" dirty="0"/>
          </a:p>
          <a:p>
            <a:pPr marL="171450" indent="-171450">
              <a:buFont typeface="Wingdings" pitchFamily="2" charset="2"/>
              <a:buChar char="§"/>
            </a:pPr>
            <a:r>
              <a:rPr lang="en-US" sz="1400" dirty="0"/>
              <a:t>“Until now, we haven’t had the ability to optimize the guest experience based on their specific interactions with the devices. With Azure, we can close the loop.” - Kevin Mowry, </a:t>
            </a:r>
            <a:r>
              <a:rPr lang="en-US" sz="1400" dirty="0" err="1"/>
              <a:t>Ziosk</a:t>
            </a:r>
            <a:r>
              <a:rPr lang="en-US" sz="1400" dirty="0"/>
              <a:t> Chief Software Architect</a:t>
            </a:r>
          </a:p>
          <a:p>
            <a:endParaRPr lang="en-US" sz="1400" dirty="0"/>
          </a:p>
          <a:p>
            <a:pPr marL="171450" indent="-171450">
              <a:buFont typeface="Wingdings" pitchFamily="2" charset="2"/>
              <a:buChar char="§"/>
            </a:pPr>
            <a:endParaRPr lang="en-US" sz="1400"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7181473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4187501" y="1143000"/>
            <a:ext cx="3813048" cy="2121408"/>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sz="1400" dirty="0">
              <a:solidFill>
                <a:prstClr val="white"/>
              </a:solidFill>
            </a:endParaRPr>
          </a:p>
        </p:txBody>
      </p:sp>
      <p:sp>
        <p:nvSpPr>
          <p:cNvPr id="4" name="Rectangle 3"/>
          <p:cNvSpPr/>
          <p:nvPr/>
        </p:nvSpPr>
        <p:spPr>
          <a:xfrm>
            <a:off x="303212" y="1143000"/>
            <a:ext cx="3813048" cy="21214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dirty="0">
                <a:solidFill>
                  <a:prstClr val="white"/>
                </a:solidFill>
              </a:rPr>
              <a:t>As the leading sports franchise in the world, Real Madrid has more than 100 championships and a passionate fan base. But what the football club didn’t have was a way to directly engage with its 450 million global supporters.</a:t>
            </a:r>
          </a:p>
        </p:txBody>
      </p:sp>
      <p:sp>
        <p:nvSpPr>
          <p:cNvPr id="2" name="Title 1"/>
          <p:cNvSpPr>
            <a:spLocks noGrp="1"/>
          </p:cNvSpPr>
          <p:nvPr>
            <p:ph type="title"/>
          </p:nvPr>
        </p:nvSpPr>
        <p:spPr/>
        <p:txBody>
          <a:bodyPr/>
          <a:lstStyle/>
          <a:p>
            <a:pPr algn="ctr"/>
            <a:r>
              <a:rPr lang="en-US" sz="3200" b="1" dirty="0"/>
              <a:t>Real Madrid C.F.</a:t>
            </a:r>
          </a:p>
        </p:txBody>
      </p:sp>
      <p:sp>
        <p:nvSpPr>
          <p:cNvPr id="3" name="Text Placeholder 2"/>
          <p:cNvSpPr>
            <a:spLocks noGrp="1"/>
          </p:cNvSpPr>
          <p:nvPr>
            <p:ph type="body" sz="quarter" idx="13"/>
          </p:nvPr>
        </p:nvSpPr>
        <p:spPr/>
        <p:txBody>
          <a:bodyPr/>
          <a:lstStyle/>
          <a:p>
            <a:pPr algn="ctr"/>
            <a:r>
              <a:rPr lang="en-US" sz="2400" i="1" dirty="0"/>
              <a:t>Improve fan engagement and experience</a:t>
            </a:r>
            <a:endParaRPr lang="en-IN" sz="2400" i="1" dirty="0"/>
          </a:p>
        </p:txBody>
      </p:sp>
      <p:grpSp>
        <p:nvGrpSpPr>
          <p:cNvPr id="8" name="Group 7"/>
          <p:cNvGrpSpPr/>
          <p:nvPr/>
        </p:nvGrpSpPr>
        <p:grpSpPr>
          <a:xfrm>
            <a:off x="303212" y="3353374"/>
            <a:ext cx="11582402" cy="2934410"/>
            <a:chOff x="303212" y="3353374"/>
            <a:chExt cx="11582402" cy="1991600"/>
          </a:xfrm>
        </p:grpSpPr>
        <p:sp>
          <p:nvSpPr>
            <p:cNvPr id="14" name="Rectangle 25"/>
            <p:cNvSpPr/>
            <p:nvPr/>
          </p:nvSpPr>
          <p:spPr bwMode="auto">
            <a:xfrm>
              <a:off x="303212" y="3353374"/>
              <a:ext cx="11582402" cy="1991600"/>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1087674" fontAlgn="base">
                <a:spcBef>
                  <a:spcPct val="0"/>
                </a:spcBef>
                <a:spcAft>
                  <a:spcPts val="200"/>
                </a:spcAft>
                <a:buClr>
                  <a:prstClr val="white"/>
                </a:buClr>
                <a:buSzPct val="100000"/>
              </a:pPr>
              <a:endParaRPr lang="en-US" sz="1600" dirty="0">
                <a:solidFill>
                  <a:prstClr val="white"/>
                </a:solidFill>
                <a:ea typeface="Segoe UI" pitchFamily="34" charset="0"/>
                <a:cs typeface="Segoe UI" pitchFamily="34" charset="0"/>
              </a:endParaRPr>
            </a:p>
          </p:txBody>
        </p:sp>
        <p:sp>
          <p:nvSpPr>
            <p:cNvPr id="15" name="Rectangle 24"/>
            <p:cNvSpPr/>
            <p:nvPr/>
          </p:nvSpPr>
          <p:spPr bwMode="auto">
            <a:xfrm>
              <a:off x="303212" y="3358574"/>
              <a:ext cx="3812276" cy="1981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1087674" fontAlgn="base">
                <a:spcBef>
                  <a:spcPct val="0"/>
                </a:spcBef>
                <a:spcAft>
                  <a:spcPts val="200"/>
                </a:spcAft>
                <a:buClr>
                  <a:prstClr val="white"/>
                </a:buClr>
                <a:buSzPct val="100000"/>
              </a:pPr>
              <a:r>
                <a:rPr lang="en-US" dirty="0">
                  <a:solidFill>
                    <a:srgbClr val="7FBA00"/>
                  </a:solidFill>
                  <a:latin typeface="Segoe UI Semibold" panose="020B0702040204020203" pitchFamily="34" charset="0"/>
                  <a:ea typeface="Segoe UI" pitchFamily="34" charset="0"/>
                  <a:cs typeface="Segoe UI Semibold" panose="020B0702040204020203" pitchFamily="34" charset="0"/>
                </a:rPr>
                <a:t>Business Needs</a:t>
              </a:r>
            </a:p>
            <a:p>
              <a:pPr defTabSz="1087674" fontAlgn="base">
                <a:spcBef>
                  <a:spcPct val="0"/>
                </a:spcBef>
                <a:spcAft>
                  <a:spcPts val="600"/>
                </a:spcAft>
                <a:buSzPct val="100000"/>
              </a:pPr>
              <a:r>
                <a:rPr lang="en-US" sz="1600" dirty="0">
                  <a:solidFill>
                    <a:srgbClr val="505050"/>
                  </a:solidFill>
                  <a:ea typeface="Segoe UI" pitchFamily="34" charset="0"/>
                  <a:cs typeface="Segoe UI" pitchFamily="34" charset="0"/>
                </a:rPr>
                <a:t>Engage with fans in more personal ways to increase revenue, customize marketing initiatives, and reinforce the club’s leadership position in the worldwide sports industry.</a:t>
              </a:r>
            </a:p>
          </p:txBody>
        </p:sp>
        <p:sp>
          <p:nvSpPr>
            <p:cNvPr id="16" name="Rectangle 25"/>
            <p:cNvSpPr/>
            <p:nvPr/>
          </p:nvSpPr>
          <p:spPr bwMode="auto">
            <a:xfrm>
              <a:off x="8073337" y="3358450"/>
              <a:ext cx="3812276" cy="19814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1087674" fontAlgn="base">
                <a:spcBef>
                  <a:spcPct val="0"/>
                </a:spcBef>
                <a:spcAft>
                  <a:spcPts val="200"/>
                </a:spcAft>
                <a:buClr>
                  <a:prstClr val="white"/>
                </a:buClr>
                <a:buSzPct val="100000"/>
              </a:pPr>
              <a:r>
                <a:rPr lang="en-IN" dirty="0">
                  <a:solidFill>
                    <a:srgbClr val="7FBA00"/>
                  </a:solidFill>
                  <a:latin typeface="Segoe UI Semibold" panose="020B0702040204020203" pitchFamily="34" charset="0"/>
                  <a:ea typeface="Segoe UI" pitchFamily="34" charset="0"/>
                  <a:cs typeface="Segoe UI Semibold" panose="020B0702040204020203" pitchFamily="34" charset="0"/>
                </a:rPr>
                <a:t>Results</a:t>
              </a:r>
            </a:p>
            <a:p>
              <a:pPr marL="304800" indent="-190500" defTabSz="1087674" fontAlgn="base">
                <a:spcBef>
                  <a:spcPct val="0"/>
                </a:spcBef>
                <a:spcAft>
                  <a:spcPts val="600"/>
                </a:spcAft>
                <a:buSzPct val="100000"/>
                <a:buFont typeface="Arial" panose="020B0604020202020204" pitchFamily="34" charset="0"/>
                <a:buChar char="•"/>
              </a:pPr>
              <a:r>
                <a:rPr lang="en-US" sz="1600" dirty="0">
                  <a:solidFill>
                    <a:srgbClr val="505050"/>
                  </a:solidFill>
                  <a:ea typeface="Segoe UI" pitchFamily="34" charset="0"/>
                  <a:cs typeface="Segoe UI" pitchFamily="34" charset="0"/>
                </a:rPr>
                <a:t>One-to-one relationships with fans increases engagement</a:t>
              </a:r>
            </a:p>
            <a:p>
              <a:pPr marL="304800" indent="-190500" defTabSz="1087674" fontAlgn="base">
                <a:spcBef>
                  <a:spcPct val="0"/>
                </a:spcBef>
                <a:spcAft>
                  <a:spcPts val="600"/>
                </a:spcAft>
                <a:buSzPct val="100000"/>
                <a:buFont typeface="Arial" panose="020B0604020202020204" pitchFamily="34" charset="0"/>
                <a:buChar char="•"/>
              </a:pPr>
              <a:r>
                <a:rPr lang="en-US" sz="1600" dirty="0">
                  <a:solidFill>
                    <a:srgbClr val="505050"/>
                  </a:solidFill>
                  <a:ea typeface="Segoe UI" pitchFamily="34" charset="0"/>
                  <a:cs typeface="Segoe UI" pitchFamily="34" charset="0"/>
                </a:rPr>
                <a:t>Targeted, customized marketing</a:t>
              </a:r>
            </a:p>
            <a:p>
              <a:pPr marL="304800" indent="-190500" defTabSz="1087674" fontAlgn="base">
                <a:spcBef>
                  <a:spcPct val="0"/>
                </a:spcBef>
                <a:spcAft>
                  <a:spcPts val="600"/>
                </a:spcAft>
                <a:buSzPct val="100000"/>
                <a:buFont typeface="Arial" panose="020B0604020202020204" pitchFamily="34" charset="0"/>
                <a:buChar char="•"/>
              </a:pPr>
              <a:r>
                <a:rPr lang="en-US" sz="1600" dirty="0">
                  <a:solidFill>
                    <a:srgbClr val="505050"/>
                  </a:solidFill>
                  <a:ea typeface="Segoe UI" pitchFamily="34" charset="0"/>
                  <a:cs typeface="Segoe UI" pitchFamily="34" charset="0"/>
                </a:rPr>
                <a:t>Near-real-time campaigns</a:t>
              </a:r>
            </a:p>
            <a:p>
              <a:pPr marL="304800" indent="-190500" defTabSz="1087674" fontAlgn="base">
                <a:spcBef>
                  <a:spcPct val="0"/>
                </a:spcBef>
                <a:spcAft>
                  <a:spcPts val="600"/>
                </a:spcAft>
                <a:buSzPct val="100000"/>
                <a:buFont typeface="Arial" panose="020B0604020202020204" pitchFamily="34" charset="0"/>
                <a:buChar char="•"/>
              </a:pPr>
              <a:r>
                <a:rPr lang="en-US" sz="1600" dirty="0">
                  <a:solidFill>
                    <a:srgbClr val="505050"/>
                  </a:solidFill>
                  <a:ea typeface="Segoe UI" pitchFamily="34" charset="0"/>
                  <a:cs typeface="Segoe UI" pitchFamily="34" charset="0"/>
                </a:rPr>
                <a:t>Transparent user interactions with </a:t>
              </a:r>
              <a:br>
                <a:rPr lang="en-US" sz="1600" dirty="0">
                  <a:solidFill>
                    <a:srgbClr val="505050"/>
                  </a:solidFill>
                  <a:ea typeface="Segoe UI" pitchFamily="34" charset="0"/>
                  <a:cs typeface="Segoe UI" pitchFamily="34" charset="0"/>
                </a:rPr>
              </a:br>
              <a:r>
                <a:rPr lang="en-US" sz="1600" dirty="0">
                  <a:solidFill>
                    <a:srgbClr val="505050"/>
                  </a:solidFill>
                  <a:ea typeface="Segoe UI" pitchFamily="34" charset="0"/>
                  <a:cs typeface="Segoe UI" pitchFamily="34" charset="0"/>
                </a:rPr>
                <a:t>content and advertising</a:t>
              </a:r>
            </a:p>
          </p:txBody>
        </p:sp>
        <p:sp>
          <p:nvSpPr>
            <p:cNvPr id="17" name="Rectangle 25"/>
            <p:cNvSpPr/>
            <p:nvPr/>
          </p:nvSpPr>
          <p:spPr bwMode="auto">
            <a:xfrm>
              <a:off x="4188274" y="3358574"/>
              <a:ext cx="3812276" cy="19812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1087674" fontAlgn="base">
                <a:spcBef>
                  <a:spcPct val="0"/>
                </a:spcBef>
                <a:spcAft>
                  <a:spcPts val="200"/>
                </a:spcAft>
                <a:buClr>
                  <a:prstClr val="white"/>
                </a:buClr>
                <a:buSzPct val="100000"/>
              </a:pPr>
              <a:r>
                <a:rPr lang="en-US" dirty="0">
                  <a:solidFill>
                    <a:srgbClr val="7FBA00"/>
                  </a:solidFill>
                  <a:latin typeface="Segoe UI Semibold" panose="020B0702040204020203" pitchFamily="34" charset="0"/>
                  <a:ea typeface="Segoe UI" pitchFamily="34" charset="0"/>
                  <a:cs typeface="Segoe UI Semibold" panose="020B0702040204020203" pitchFamily="34" charset="0"/>
                </a:rPr>
                <a:t>The Solution</a:t>
              </a:r>
            </a:p>
            <a:p>
              <a:pPr defTabSz="1087674" fontAlgn="base">
                <a:spcAft>
                  <a:spcPts val="600"/>
                </a:spcAft>
                <a:buSzPct val="100000"/>
              </a:pPr>
              <a:r>
                <a:rPr lang="en-US" sz="1600" dirty="0">
                  <a:solidFill>
                    <a:srgbClr val="505050"/>
                  </a:solidFill>
                  <a:ea typeface="Segoe UI" pitchFamily="34" charset="0"/>
                  <a:cs typeface="Segoe UI" pitchFamily="34" charset="0"/>
                </a:rPr>
                <a:t>Implement a comprehensive platform-as-a-service solution to collect the data Real Madrid needs and to create personalized fan experiences and thrive</a:t>
              </a:r>
            </a:p>
          </p:txBody>
        </p:sp>
        <p:cxnSp>
          <p:nvCxnSpPr>
            <p:cNvPr id="18" name="Straight Connector 17"/>
            <p:cNvCxnSpPr/>
            <p:nvPr/>
          </p:nvCxnSpPr>
          <p:spPr>
            <a:xfrm>
              <a:off x="4151881" y="3639561"/>
              <a:ext cx="0" cy="141922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036943" y="3639561"/>
              <a:ext cx="0" cy="141922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 name="Slide Number Placeholder 5"/>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11</a:t>
            </a:fld>
            <a:endParaRPr lang="en-US" dirty="0">
              <a:solidFill>
                <a:srgbClr val="505050"/>
              </a:solidFill>
            </a:endParaRPr>
          </a:p>
        </p:txBody>
      </p:sp>
      <p:sp>
        <p:nvSpPr>
          <p:cNvPr id="21" name="Rectangle 20"/>
          <p:cNvSpPr/>
          <p:nvPr/>
        </p:nvSpPr>
        <p:spPr>
          <a:xfrm>
            <a:off x="8072951" y="1144237"/>
            <a:ext cx="3813048" cy="21214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400" dirty="0">
                <a:solidFill>
                  <a:prstClr val="white"/>
                </a:solidFill>
              </a:rPr>
              <a:t>“Using the Microsoft Cloud, we are building a way of understanding who our fans are, where they are, and what they want from us.”</a:t>
            </a:r>
          </a:p>
          <a:p>
            <a:pPr>
              <a:spcAft>
                <a:spcPts val="600"/>
              </a:spcAft>
            </a:pPr>
            <a:endParaRPr lang="en-US" sz="1400" dirty="0">
              <a:solidFill>
                <a:prstClr val="white"/>
              </a:solidFill>
            </a:endParaRPr>
          </a:p>
          <a:p>
            <a:pPr algn="r"/>
            <a:r>
              <a:rPr lang="es-ES" sz="1400" dirty="0">
                <a:solidFill>
                  <a:prstClr val="white"/>
                </a:solidFill>
                <a:latin typeface="Segoe UI Semibold" panose="020B0702040204020203" pitchFamily="34" charset="0"/>
                <a:cs typeface="Segoe UI Semibold" panose="020B0702040204020203" pitchFamily="34" charset="0"/>
              </a:rPr>
              <a:t>– José Ángel Sánchez, CEO, </a:t>
            </a:r>
            <a:br>
              <a:rPr lang="es-ES" sz="1400" dirty="0">
                <a:solidFill>
                  <a:prstClr val="white"/>
                </a:solidFill>
                <a:latin typeface="Segoe UI Semibold" panose="020B0702040204020203" pitchFamily="34" charset="0"/>
                <a:cs typeface="Segoe UI Semibold" panose="020B0702040204020203" pitchFamily="34" charset="0"/>
              </a:rPr>
            </a:br>
            <a:r>
              <a:rPr lang="es-ES" sz="1400" dirty="0">
                <a:solidFill>
                  <a:prstClr val="white"/>
                </a:solidFill>
                <a:latin typeface="Segoe UI Semibold" panose="020B0702040204020203" pitchFamily="34" charset="0"/>
                <a:cs typeface="Segoe UI Semibold" panose="020B0702040204020203" pitchFamily="34" charset="0"/>
              </a:rPr>
              <a:t>Real Madrid C.F.</a:t>
            </a:r>
          </a:p>
          <a:p>
            <a:endParaRPr lang="en-US" sz="1400" dirty="0">
              <a:solidFill>
                <a:prstClr val="white"/>
              </a:solidFill>
            </a:endParaRPr>
          </a:p>
        </p:txBody>
      </p:sp>
      <p:pic>
        <p:nvPicPr>
          <p:cNvPr id="20" name="Picture 19"/>
          <p:cNvPicPr>
            <a:picLocks noChangeAspect="1"/>
          </p:cNvPicPr>
          <p:nvPr/>
        </p:nvPicPr>
        <p:blipFill rotWithShape="1">
          <a:blip r:embed="rId3"/>
          <a:srcRect r="1293" b="17734"/>
          <a:stretch/>
        </p:blipFill>
        <p:spPr>
          <a:xfrm>
            <a:off x="4187501" y="1143000"/>
            <a:ext cx="3812276" cy="2120900"/>
          </a:xfrm>
          <a:prstGeom prst="rect">
            <a:avLst/>
          </a:prstGeom>
          <a:noFill/>
          <a:ln>
            <a:noFill/>
          </a:ln>
        </p:spPr>
      </p:pic>
    </p:spTree>
    <p:extLst>
      <p:ext uri="{BB962C8B-B14F-4D97-AF65-F5344CB8AC3E}">
        <p14:creationId xmlns:p14="http://schemas.microsoft.com/office/powerpoint/2010/main" val="23922862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stomer Analytics Azure Solution Blueprint</a:t>
            </a:r>
          </a:p>
        </p:txBody>
      </p:sp>
      <p:sp>
        <p:nvSpPr>
          <p:cNvPr id="5" name="Text Placeholder 4"/>
          <p:cNvSpPr>
            <a:spLocks noGrp="1"/>
          </p:cNvSpPr>
          <p:nvPr>
            <p:ph type="body" sz="quarter" idx="13"/>
          </p:nvPr>
        </p:nvSpPr>
        <p:spPr>
          <a:xfrm>
            <a:off x="1795463" y="1828800"/>
            <a:ext cx="9326627" cy="4380254"/>
          </a:xfrm>
        </p:spPr>
        <p:txBody>
          <a:bodyPr>
            <a:noAutofit/>
          </a:bodyPr>
          <a:lstStyle/>
          <a:p>
            <a:pPr marL="228600" indent="-228600">
              <a:lnSpc>
                <a:spcPct val="150000"/>
              </a:lnSpc>
              <a:spcBef>
                <a:spcPts val="400"/>
              </a:spcBef>
              <a:buFont typeface="Arial" panose="020B0604020202020204" pitchFamily="34" charset="0"/>
              <a:buChar char="•"/>
            </a:pPr>
            <a:r>
              <a:rPr lang="en-IN" sz="2200" dirty="0">
                <a:latin typeface="+mj-lt"/>
              </a:rPr>
              <a:t>Microsoft Azure </a:t>
            </a:r>
            <a:r>
              <a:rPr lang="en-IN" sz="2200" dirty="0" err="1">
                <a:latin typeface="+mj-lt"/>
              </a:rPr>
              <a:t>HiPo</a:t>
            </a:r>
            <a:r>
              <a:rPr lang="en-IN" sz="2200" dirty="0">
                <a:latin typeface="+mj-lt"/>
              </a:rPr>
              <a:t> Value Proposition</a:t>
            </a:r>
          </a:p>
          <a:p>
            <a:pPr marL="228600" indent="-228600">
              <a:lnSpc>
                <a:spcPct val="150000"/>
              </a:lnSpc>
              <a:spcBef>
                <a:spcPts val="400"/>
              </a:spcBef>
              <a:buFont typeface="Arial" panose="020B0604020202020204" pitchFamily="34" charset="0"/>
              <a:buChar char="•"/>
            </a:pPr>
            <a:r>
              <a:rPr lang="en-IN" sz="2200" dirty="0">
                <a:latin typeface="+mj-lt"/>
              </a:rPr>
              <a:t>Customer Analytics on the Azure Platform</a:t>
            </a:r>
          </a:p>
          <a:p>
            <a:pPr marL="228600" indent="-228600">
              <a:lnSpc>
                <a:spcPct val="150000"/>
              </a:lnSpc>
              <a:spcBef>
                <a:spcPts val="400"/>
              </a:spcBef>
              <a:buFont typeface="Arial" panose="020B0604020202020204" pitchFamily="34" charset="0"/>
              <a:buChar char="•"/>
            </a:pPr>
            <a:r>
              <a:rPr lang="en-IN" sz="2200" dirty="0">
                <a:latin typeface="+mj-lt"/>
              </a:rPr>
              <a:t>Discover your most profitable customers</a:t>
            </a:r>
          </a:p>
          <a:p>
            <a:pPr marL="228600" indent="-228600">
              <a:lnSpc>
                <a:spcPct val="150000"/>
              </a:lnSpc>
              <a:spcBef>
                <a:spcPts val="400"/>
              </a:spcBef>
              <a:buFont typeface="Arial" panose="020B0604020202020204" pitchFamily="34" charset="0"/>
              <a:buChar char="•"/>
            </a:pPr>
            <a:r>
              <a:rPr lang="en-IN" sz="2200" dirty="0">
                <a:latin typeface="+mj-lt"/>
              </a:rPr>
              <a:t>What are the buying patterns of your customers?</a:t>
            </a:r>
          </a:p>
          <a:p>
            <a:pPr marL="228600" indent="-228600">
              <a:lnSpc>
                <a:spcPct val="150000"/>
              </a:lnSpc>
              <a:spcBef>
                <a:spcPts val="400"/>
              </a:spcBef>
              <a:buFont typeface="Arial" panose="020B0604020202020204" pitchFamily="34" charset="0"/>
              <a:buChar char="•"/>
            </a:pPr>
            <a:r>
              <a:rPr lang="en-IN" sz="2200" dirty="0">
                <a:latin typeface="+mj-lt"/>
              </a:rPr>
              <a:t>Which Customer are most likely to Churn and Why?</a:t>
            </a:r>
          </a:p>
          <a:p>
            <a:pPr marL="228600" indent="-228600">
              <a:lnSpc>
                <a:spcPct val="150000"/>
              </a:lnSpc>
              <a:spcBef>
                <a:spcPts val="400"/>
              </a:spcBef>
              <a:buFont typeface="Arial" panose="020B0604020202020204" pitchFamily="34" charset="0"/>
              <a:buChar char="•"/>
            </a:pPr>
            <a:r>
              <a:rPr lang="en-IN" sz="2200" dirty="0">
                <a:latin typeface="+mj-lt"/>
              </a:rPr>
              <a:t>Engaging with Azure </a:t>
            </a:r>
            <a:r>
              <a:rPr lang="en-IN" sz="2200" dirty="0" err="1">
                <a:latin typeface="+mj-lt"/>
              </a:rPr>
              <a:t>HiPo</a:t>
            </a:r>
            <a:r>
              <a:rPr lang="en-IN" sz="2200" dirty="0">
                <a:latin typeface="+mj-lt"/>
              </a:rPr>
              <a:t> Team</a:t>
            </a:r>
          </a:p>
        </p:txBody>
      </p:sp>
      <p:sp>
        <p:nvSpPr>
          <p:cNvPr id="2" name="Slide Number Placeholder 1"/>
          <p:cNvSpPr>
            <a:spLocks noGrp="1"/>
          </p:cNvSpPr>
          <p:nvPr>
            <p:ph type="sldNum" sz="quarter" idx="15"/>
          </p:nvPr>
        </p:nvSpPr>
        <p:spPr/>
        <p:txBody>
          <a:bodyPr/>
          <a:lstStyle/>
          <a:p>
            <a:fld id="{FAADACFB-7C71-4E89-89D2-7BBA40B7BFA9}" type="slidenum">
              <a:rPr lang="en-US" smtClean="0">
                <a:solidFill>
                  <a:srgbClr val="505050"/>
                </a:solidFill>
              </a:rPr>
              <a:pPr/>
              <a:t>2</a:t>
            </a:fld>
            <a:endParaRPr lang="en-US" dirty="0">
              <a:solidFill>
                <a:srgbClr val="505050"/>
              </a:solidFill>
            </a:endParaRPr>
          </a:p>
        </p:txBody>
      </p:sp>
      <p:sp>
        <p:nvSpPr>
          <p:cNvPr id="19" name="Text Placeholder 4"/>
          <p:cNvSpPr>
            <a:spLocks noGrp="1"/>
          </p:cNvSpPr>
          <p:nvPr>
            <p:ph type="body" sz="quarter" idx="13"/>
          </p:nvPr>
        </p:nvSpPr>
        <p:spPr>
          <a:xfrm>
            <a:off x="1" y="573605"/>
            <a:ext cx="12192000" cy="373063"/>
          </a:xfrm>
        </p:spPr>
        <p:txBody>
          <a:bodyPr/>
          <a:lstStyle/>
          <a:p>
            <a:r>
              <a:rPr lang="en-US" dirty="0"/>
              <a:t>Objectives</a:t>
            </a:r>
          </a:p>
        </p:txBody>
      </p:sp>
    </p:spTree>
    <p:extLst>
      <p:ext uri="{BB962C8B-B14F-4D97-AF65-F5344CB8AC3E}">
        <p14:creationId xmlns:p14="http://schemas.microsoft.com/office/powerpoint/2010/main" val="31156526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b="697"/>
          <a:stretch/>
        </p:blipFill>
        <p:spPr>
          <a:xfrm>
            <a:off x="1589" y="0"/>
            <a:ext cx="12188825" cy="6858000"/>
          </a:xfrm>
          <a:prstGeom prst="rect">
            <a:avLst/>
          </a:prstGeom>
          <a:noFill/>
          <a:ln>
            <a:noFill/>
          </a:ln>
        </p:spPr>
      </p:pic>
      <p:sp>
        <p:nvSpPr>
          <p:cNvPr id="2" name="Title 1"/>
          <p:cNvSpPr>
            <a:spLocks noGrp="1"/>
          </p:cNvSpPr>
          <p:nvPr>
            <p:ph type="title"/>
          </p:nvPr>
        </p:nvSpPr>
        <p:spPr>
          <a:xfrm>
            <a:off x="1" y="1"/>
            <a:ext cx="6088742" cy="1295397"/>
          </a:xfrm>
        </p:spPr>
        <p:txBody>
          <a:bodyPr/>
          <a:lstStyle/>
          <a:p>
            <a:r>
              <a:rPr lang="en-US" dirty="0"/>
              <a:t>360 Degree View of the Customer</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chemeClr val="bg1"/>
                </a:solidFill>
              </a:rPr>
              <a:pPr/>
              <a:t>3</a:t>
            </a:fld>
            <a:endParaRPr lang="en-US" dirty="0">
              <a:solidFill>
                <a:schemeClr val="bg1"/>
              </a:solidFill>
            </a:endParaRPr>
          </a:p>
        </p:txBody>
      </p:sp>
      <p:sp>
        <p:nvSpPr>
          <p:cNvPr id="8" name="Rectangle 7"/>
          <p:cNvSpPr/>
          <p:nvPr/>
        </p:nvSpPr>
        <p:spPr>
          <a:xfrm>
            <a:off x="304802" y="1295399"/>
            <a:ext cx="5332412" cy="5316415"/>
          </a:xfrm>
          <a:prstGeom prst="rect">
            <a:avLst/>
          </a:prstGeom>
          <a:solidFill>
            <a:schemeClr val="tx2">
              <a:alpha val="89000"/>
            </a:schemeClr>
          </a:solidFill>
        </p:spPr>
        <p:txBody>
          <a:bodyPr wrap="square" lIns="137160" tIns="91440" rIns="137160" bIns="91440">
            <a:noAutofit/>
          </a:bodyPr>
          <a:lstStyle/>
          <a:p>
            <a:pPr marL="285750" indent="-285750" defTabSz="1088105">
              <a:spcBef>
                <a:spcPts val="600"/>
              </a:spcBef>
              <a:spcAft>
                <a:spcPts val="1000"/>
              </a:spcAft>
              <a:buFont typeface="Arial" panose="020B0604020202020204" pitchFamily="34" charset="0"/>
              <a:buChar char="•"/>
            </a:pPr>
            <a:r>
              <a:rPr lang="en-US" dirty="0">
                <a:solidFill>
                  <a:schemeClr val="bg1"/>
                </a:solidFill>
              </a:rPr>
              <a:t>Apply lifetime value for customers and customer segments to understand the profitability of your customer base.</a:t>
            </a:r>
          </a:p>
          <a:p>
            <a:pPr marL="285750" indent="-285750" defTabSz="1088105">
              <a:spcBef>
                <a:spcPts val="600"/>
              </a:spcBef>
              <a:spcAft>
                <a:spcPts val="1000"/>
              </a:spcAft>
              <a:buFont typeface="Arial" panose="020B0604020202020204" pitchFamily="34" charset="0"/>
              <a:buChar char="•"/>
            </a:pPr>
            <a:endParaRPr lang="en-US" dirty="0">
              <a:solidFill>
                <a:schemeClr val="bg1"/>
              </a:solidFill>
            </a:endParaRPr>
          </a:p>
          <a:p>
            <a:pPr marL="285750" indent="-285750" defTabSz="1088105">
              <a:spcBef>
                <a:spcPts val="600"/>
              </a:spcBef>
              <a:spcAft>
                <a:spcPts val="1000"/>
              </a:spcAft>
              <a:buFont typeface="Arial" panose="020B0604020202020204" pitchFamily="34" charset="0"/>
              <a:buChar char="•"/>
            </a:pPr>
            <a:r>
              <a:rPr lang="en-US" dirty="0">
                <a:solidFill>
                  <a:schemeClr val="bg1"/>
                </a:solidFill>
              </a:rPr>
              <a:t>Understand what drives your customer’s buying behaviors and what factors may cause them to go somewhere else.</a:t>
            </a:r>
          </a:p>
          <a:p>
            <a:pPr marL="285750" indent="-285750" defTabSz="1088105">
              <a:spcBef>
                <a:spcPts val="600"/>
              </a:spcBef>
              <a:spcAft>
                <a:spcPts val="1000"/>
              </a:spcAft>
              <a:buFont typeface="Arial" panose="020B0604020202020204" pitchFamily="34" charset="0"/>
              <a:buChar char="•"/>
            </a:pPr>
            <a:endParaRPr lang="en-US" dirty="0">
              <a:solidFill>
                <a:schemeClr val="bg1"/>
              </a:solidFill>
            </a:endParaRPr>
          </a:p>
          <a:p>
            <a:pPr marL="285750" indent="-285750" defTabSz="1088105">
              <a:spcBef>
                <a:spcPts val="600"/>
              </a:spcBef>
              <a:spcAft>
                <a:spcPts val="1000"/>
              </a:spcAft>
              <a:buFont typeface="Arial" panose="020B0604020202020204" pitchFamily="34" charset="0"/>
              <a:buChar char="•"/>
            </a:pPr>
            <a:r>
              <a:rPr lang="en-US" dirty="0">
                <a:solidFill>
                  <a:schemeClr val="bg1"/>
                </a:solidFill>
              </a:rPr>
              <a:t>Leverage that data to make better business decisions that will increase your customer profitability, lower costs to find new customers and grow your revenue opportunities.</a:t>
            </a:r>
          </a:p>
        </p:txBody>
      </p:sp>
    </p:spTree>
    <p:extLst>
      <p:ext uri="{BB962C8B-B14F-4D97-AF65-F5344CB8AC3E}">
        <p14:creationId xmlns:p14="http://schemas.microsoft.com/office/powerpoint/2010/main" val="8400849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zure </a:t>
            </a:r>
            <a:r>
              <a:rPr lang="en-US" dirty="0" err="1"/>
              <a:t>HiPo</a:t>
            </a:r>
            <a:r>
              <a:rPr lang="en-US" dirty="0"/>
              <a:t> Team of Cloud Solution Experts</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4</a:t>
            </a:fld>
            <a:endParaRPr lang="en-US" dirty="0">
              <a:solidFill>
                <a:srgbClr val="505050"/>
              </a:solidFill>
            </a:endParaRPr>
          </a:p>
        </p:txBody>
      </p:sp>
      <p:graphicFrame>
        <p:nvGraphicFramePr>
          <p:cNvPr id="4" name="Diagram 3"/>
          <p:cNvGraphicFramePr/>
          <p:nvPr>
            <p:extLst>
              <p:ext uri="{D42A27DB-BD31-4B8C-83A1-F6EECF244321}">
                <p14:modId xmlns:p14="http://schemas.microsoft.com/office/powerpoint/2010/main" val="2477622043"/>
              </p:ext>
            </p:extLst>
          </p:nvPr>
        </p:nvGraphicFramePr>
        <p:xfrm>
          <a:off x="1524000" y="719666"/>
          <a:ext cx="8636000" cy="56303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424722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zure </a:t>
            </a:r>
            <a:r>
              <a:rPr lang="en-US" dirty="0" err="1"/>
              <a:t>HiPo</a:t>
            </a:r>
            <a:r>
              <a:rPr lang="en-US" dirty="0"/>
              <a:t> Team Pre-</a:t>
            </a:r>
            <a:r>
              <a:rPr lang="en-US" dirty="0" err="1"/>
              <a:t>Archictected</a:t>
            </a:r>
            <a:r>
              <a:rPr lang="en-US" dirty="0"/>
              <a:t> Solutions</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5</a:t>
            </a:fld>
            <a:endParaRPr lang="en-US" dirty="0">
              <a:solidFill>
                <a:srgbClr val="505050"/>
              </a:solidFill>
            </a:endParaRPr>
          </a:p>
        </p:txBody>
      </p:sp>
      <p:sp>
        <p:nvSpPr>
          <p:cNvPr id="4" name="Text Placeholder 12"/>
          <p:cNvSpPr txBox="1">
            <a:spLocks/>
          </p:cNvSpPr>
          <p:nvPr/>
        </p:nvSpPr>
        <p:spPr>
          <a:xfrm>
            <a:off x="2431915" y="5398753"/>
            <a:ext cx="7603992" cy="1285420"/>
          </a:xfrm>
          <a:prstGeom prst="rect">
            <a:avLst/>
          </a:prstGeom>
        </p:spPr>
        <p:txBody>
          <a:bodyPr vert="horz" wrap="square" lIns="140568" tIns="87854" rIns="140568" bIns="87854"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098" rtl="0" eaLnBrk="1" fontAlgn="auto" latinLnBrk="0" hangingPunct="1">
              <a:lnSpc>
                <a:spcPct val="90000"/>
              </a:lnSpc>
              <a:spcBef>
                <a:spcPct val="20000"/>
              </a:spcBef>
              <a:spcAft>
                <a:spcPts val="0"/>
              </a:spcAft>
              <a:buClrTx/>
              <a:buSzPct val="90000"/>
              <a:buFont typeface="Arial" pitchFamily="34" charset="0"/>
              <a:buNone/>
              <a:tabLst/>
              <a:defRPr/>
            </a:pPr>
            <a:r>
              <a:rPr kumimoji="0" lang="en-US" sz="4000" b="1" i="0" u="none" strike="noStrike" kern="1200" cap="none" spc="0" normalizeH="0" baseline="0" noProof="0" dirty="0">
                <a:ln>
                  <a:noFill/>
                </a:ln>
                <a:solidFill>
                  <a:schemeClr val="tx2"/>
                </a:solidFill>
                <a:effectLst/>
                <a:uLnTx/>
                <a:uFillTx/>
                <a:latin typeface="Segoe UI Light"/>
                <a:ea typeface="+mn-ea"/>
                <a:cs typeface="+mn-cs"/>
              </a:rPr>
              <a:t>Cloud Solutions Built</a:t>
            </a:r>
            <a:r>
              <a:rPr kumimoji="0" lang="en-US" sz="4000" b="1" i="0" u="none" strike="noStrike" kern="1200" cap="none" spc="0" normalizeH="0" noProof="0" dirty="0">
                <a:ln>
                  <a:noFill/>
                </a:ln>
                <a:solidFill>
                  <a:schemeClr val="tx2"/>
                </a:solidFill>
                <a:effectLst/>
                <a:uLnTx/>
                <a:uFillTx/>
                <a:latin typeface="Segoe UI Light"/>
                <a:ea typeface="+mn-ea"/>
                <a:cs typeface="+mn-cs"/>
              </a:rPr>
              <a:t> 100% for the Cloud on Microsoft Azure</a:t>
            </a:r>
            <a:endParaRPr kumimoji="0" lang="en-US" sz="4000" b="1" i="0" u="none" strike="noStrike" kern="1200" cap="none" spc="0" normalizeH="0" baseline="0" noProof="0" dirty="0">
              <a:ln>
                <a:noFill/>
              </a:ln>
              <a:solidFill>
                <a:schemeClr val="tx2"/>
              </a:solidFill>
              <a:effectLst/>
              <a:uLnTx/>
              <a:uFillTx/>
              <a:latin typeface="Segoe UI Light"/>
              <a:ea typeface="+mn-ea"/>
              <a:cs typeface="+mn-cs"/>
            </a:endParaRPr>
          </a:p>
        </p:txBody>
      </p:sp>
      <p:sp>
        <p:nvSpPr>
          <p:cNvPr id="5" name="Oval 4"/>
          <p:cNvSpPr/>
          <p:nvPr/>
        </p:nvSpPr>
        <p:spPr>
          <a:xfrm>
            <a:off x="5828953" y="2329382"/>
            <a:ext cx="2825402" cy="2825402"/>
          </a:xfrm>
          <a:prstGeom prst="ellipse">
            <a:avLst/>
          </a:prstGeom>
          <a:solidFill>
            <a:srgbClr val="4EA6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6" name="Group 5"/>
          <p:cNvGrpSpPr/>
          <p:nvPr/>
        </p:nvGrpSpPr>
        <p:grpSpPr>
          <a:xfrm>
            <a:off x="6572595" y="3441891"/>
            <a:ext cx="1540356" cy="991464"/>
            <a:chOff x="8860780" y="4095818"/>
            <a:chExt cx="2154684" cy="1386882"/>
          </a:xfrm>
        </p:grpSpPr>
        <p:sp>
          <p:nvSpPr>
            <p:cNvPr id="7" name="Rectangle 6"/>
            <p:cNvSpPr/>
            <p:nvPr/>
          </p:nvSpPr>
          <p:spPr>
            <a:xfrm>
              <a:off x="8860780" y="4888660"/>
              <a:ext cx="2154684" cy="594040"/>
            </a:xfrm>
            <a:prstGeom prst="rect">
              <a:avLst/>
            </a:prstGeom>
          </p:spPr>
          <p:txBody>
            <a:bodyPr wrap="square">
              <a:sp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Hybrid</a:t>
              </a:r>
            </a:p>
          </p:txBody>
        </p:sp>
        <p:sp>
          <p:nvSpPr>
            <p:cNvPr id="8" name="Freeform 138"/>
            <p:cNvSpPr>
              <a:spLocks noEditPoints="1"/>
            </p:cNvSpPr>
            <p:nvPr/>
          </p:nvSpPr>
          <p:spPr bwMode="black">
            <a:xfrm rot="2731855">
              <a:off x="9641988" y="4022501"/>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1431" tIns="45715" rIns="91431" bIns="45715" numCol="1" anchor="t" anchorCtr="0" compatLnSpc="1">
              <a:prstTxWarp prst="textNoShape">
                <a:avLst/>
              </a:prstTxWarp>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9" name="Oval 8"/>
          <p:cNvSpPr/>
          <p:nvPr/>
        </p:nvSpPr>
        <p:spPr>
          <a:xfrm>
            <a:off x="3832539" y="2329382"/>
            <a:ext cx="2825402" cy="2825402"/>
          </a:xfrm>
          <a:prstGeom prst="ellipse">
            <a:avLst/>
          </a:prstGeom>
          <a:solidFill>
            <a:srgbClr val="4EA6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0" name="Oval 9"/>
          <p:cNvSpPr/>
          <p:nvPr/>
        </p:nvSpPr>
        <p:spPr>
          <a:xfrm>
            <a:off x="4821212" y="889490"/>
            <a:ext cx="2825402" cy="2825402"/>
          </a:xfrm>
          <a:prstGeom prst="ellipse">
            <a:avLst/>
          </a:prstGeom>
          <a:solidFill>
            <a:srgbClr val="4EA6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11" name="Group 10"/>
          <p:cNvGrpSpPr/>
          <p:nvPr/>
        </p:nvGrpSpPr>
        <p:grpSpPr>
          <a:xfrm>
            <a:off x="4213859" y="3409927"/>
            <a:ext cx="1955806" cy="1466563"/>
            <a:chOff x="5561329" y="4051104"/>
            <a:chExt cx="2735825" cy="2051461"/>
          </a:xfrm>
        </p:grpSpPr>
        <p:sp>
          <p:nvSpPr>
            <p:cNvPr id="12" name="Rectangle 11"/>
            <p:cNvSpPr/>
            <p:nvPr/>
          </p:nvSpPr>
          <p:spPr>
            <a:xfrm>
              <a:off x="5561329" y="4888657"/>
              <a:ext cx="2735825" cy="1213908"/>
            </a:xfrm>
            <a:prstGeom prst="rect">
              <a:avLst/>
            </a:prstGeom>
          </p:spPr>
          <p:txBody>
            <a:bodyPr wrap="square">
              <a:sp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Enterprise Grade</a:t>
              </a:r>
            </a:p>
          </p:txBody>
        </p:sp>
        <p:pic>
          <p:nvPicPr>
            <p:cNvPr id="13" name="Picture 12"/>
            <p:cNvPicPr>
              <a:picLocks noChangeAspect="1"/>
            </p:cNvPicPr>
            <p:nvPr/>
          </p:nvPicPr>
          <p:blipFill>
            <a:blip r:embed="rId2"/>
            <a:stretch>
              <a:fillRect/>
            </a:stretch>
          </p:blipFill>
          <p:spPr>
            <a:xfrm>
              <a:off x="6666689" y="4051104"/>
              <a:ext cx="571040" cy="741558"/>
            </a:xfrm>
            <a:prstGeom prst="rect">
              <a:avLst/>
            </a:prstGeom>
          </p:spPr>
        </p:pic>
      </p:grpSp>
      <p:grpSp>
        <p:nvGrpSpPr>
          <p:cNvPr id="14" name="Group 13"/>
          <p:cNvGrpSpPr/>
          <p:nvPr/>
        </p:nvGrpSpPr>
        <p:grpSpPr>
          <a:xfrm>
            <a:off x="4831990" y="2327014"/>
            <a:ext cx="2814623" cy="2401580"/>
            <a:chOff x="6425668" y="2391838"/>
            <a:chExt cx="3937156" cy="3359384"/>
          </a:xfrm>
        </p:grpSpPr>
        <p:sp>
          <p:nvSpPr>
            <p:cNvPr id="15" name="Freeform 14"/>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Freeform 15"/>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Freeform 16"/>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Freeform 17"/>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 name="Group 18"/>
          <p:cNvGrpSpPr/>
          <p:nvPr/>
        </p:nvGrpSpPr>
        <p:grpSpPr>
          <a:xfrm>
            <a:off x="5268064" y="2020362"/>
            <a:ext cx="1965324" cy="983421"/>
            <a:chOff x="7035973" y="2107351"/>
            <a:chExt cx="2749140" cy="1375631"/>
          </a:xfrm>
        </p:grpSpPr>
        <p:sp>
          <p:nvSpPr>
            <p:cNvPr id="20" name="Rectangle 19"/>
            <p:cNvSpPr/>
            <p:nvPr/>
          </p:nvSpPr>
          <p:spPr>
            <a:xfrm>
              <a:off x="7035973" y="2811460"/>
              <a:ext cx="2749140" cy="671522"/>
            </a:xfrm>
            <a:prstGeom prst="rect">
              <a:avLst/>
            </a:prstGeom>
          </p:spPr>
          <p:txBody>
            <a:bodyPr wrap="none">
              <a:sp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Hyper-scale</a:t>
              </a:r>
            </a:p>
          </p:txBody>
        </p:sp>
        <p:pic>
          <p:nvPicPr>
            <p:cNvPr id="21" name="Picture 20"/>
            <p:cNvPicPr>
              <a:picLocks noChangeAspect="1"/>
            </p:cNvPicPr>
            <p:nvPr/>
          </p:nvPicPr>
          <p:blipFill>
            <a:blip r:embed="rId3"/>
            <a:stretch>
              <a:fillRect/>
            </a:stretch>
          </p:blipFill>
          <p:spPr>
            <a:xfrm>
              <a:off x="8012317" y="2107351"/>
              <a:ext cx="749412" cy="593646"/>
            </a:xfrm>
            <a:prstGeom prst="rect">
              <a:avLst/>
            </a:prstGeom>
          </p:spPr>
        </p:pic>
      </p:grpSp>
    </p:spTree>
    <p:extLst>
      <p:ext uri="{BB962C8B-B14F-4D97-AF65-F5344CB8AC3E}">
        <p14:creationId xmlns:p14="http://schemas.microsoft.com/office/powerpoint/2010/main" val="7341349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mph" presetSubtype="2" fill="hold" nodeType="clickEffect">
                                  <p:stCondLst>
                                    <p:cond delay="0"/>
                                  </p:stCondLst>
                                  <p:childTnLst>
                                    <p:animClr clrSpc="rgb" dir="cw">
                                      <p:cBhvr>
                                        <p:cTn id="11" dur="1000" fill="hold"/>
                                        <p:tgtEl>
                                          <p:spTgt spid="5"/>
                                        </p:tgtEl>
                                        <p:attrNameLst>
                                          <p:attrName>fillcolor</p:attrName>
                                        </p:attrNameLst>
                                      </p:cBhvr>
                                      <p:to>
                                        <a:srgbClr val="505050"/>
                                      </p:to>
                                    </p:animClr>
                                    <p:set>
                                      <p:cBhvr>
                                        <p:cTn id="12" dur="1000" fill="hold"/>
                                        <p:tgtEl>
                                          <p:spTgt spid="5"/>
                                        </p:tgtEl>
                                        <p:attrNameLst>
                                          <p:attrName>fill.type</p:attrName>
                                        </p:attrNameLst>
                                      </p:cBhvr>
                                      <p:to>
                                        <p:strVal val="solid"/>
                                      </p:to>
                                    </p:set>
                                    <p:set>
                                      <p:cBhvr>
                                        <p:cTn id="13" dur="1000" fill="hold"/>
                                        <p:tgtEl>
                                          <p:spTgt spid="5"/>
                                        </p:tgtEl>
                                        <p:attrNameLst>
                                          <p:attrName>fill.on</p:attrName>
                                        </p:attrNameLst>
                                      </p:cBhvr>
                                      <p:to>
                                        <p:strVal val="true"/>
                                      </p:to>
                                    </p:set>
                                  </p:childTnLst>
                                </p:cTn>
                              </p:par>
                              <p:par>
                                <p:cTn id="14" presetID="19" presetClass="emph" presetSubtype="0" fill="hold" grpId="0" nodeType="withEffect">
                                  <p:stCondLst>
                                    <p:cond delay="200"/>
                                  </p:stCondLst>
                                  <p:childTnLst>
                                    <p:animClr clrSpc="rgb" dir="cw">
                                      <p:cBhvr override="childStyle">
                                        <p:cTn id="15" dur="1100" fill="hold"/>
                                        <p:tgtEl>
                                          <p:spTgt spid="9"/>
                                        </p:tgtEl>
                                        <p:attrNameLst>
                                          <p:attrName>style.color</p:attrName>
                                        </p:attrNameLst>
                                      </p:cBhvr>
                                      <p:to>
                                        <a:srgbClr val="505050"/>
                                      </p:to>
                                    </p:animClr>
                                    <p:animClr clrSpc="rgb" dir="cw">
                                      <p:cBhvr>
                                        <p:cTn id="16" dur="1100" fill="hold"/>
                                        <p:tgtEl>
                                          <p:spTgt spid="9"/>
                                        </p:tgtEl>
                                        <p:attrNameLst>
                                          <p:attrName>fillcolor</p:attrName>
                                        </p:attrNameLst>
                                      </p:cBhvr>
                                      <p:to>
                                        <a:srgbClr val="505050"/>
                                      </p:to>
                                    </p:animClr>
                                    <p:set>
                                      <p:cBhvr>
                                        <p:cTn id="17" dur="1100" fill="hold"/>
                                        <p:tgtEl>
                                          <p:spTgt spid="9"/>
                                        </p:tgtEl>
                                        <p:attrNameLst>
                                          <p:attrName>fill.type</p:attrName>
                                        </p:attrNameLst>
                                      </p:cBhvr>
                                      <p:to>
                                        <p:strVal val="solid"/>
                                      </p:to>
                                    </p:set>
                                    <p:set>
                                      <p:cBhvr>
                                        <p:cTn id="18" dur="1100" fill="hold"/>
                                        <p:tgtEl>
                                          <p:spTgt spid="9"/>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7591" r="4309"/>
          <a:stretch/>
        </p:blipFill>
        <p:spPr>
          <a:xfrm>
            <a:off x="4170946" y="779599"/>
            <a:ext cx="3801979" cy="2861587"/>
          </a:xfrm>
          <a:prstGeom prst="rect">
            <a:avLst/>
          </a:prstGeom>
        </p:spPr>
      </p:pic>
      <p:sp>
        <p:nvSpPr>
          <p:cNvPr id="4" name="Title 3"/>
          <p:cNvSpPr>
            <a:spLocks noGrp="1"/>
          </p:cNvSpPr>
          <p:nvPr>
            <p:ph type="title"/>
          </p:nvPr>
        </p:nvSpPr>
        <p:spPr/>
        <p:txBody>
          <a:bodyPr/>
          <a:lstStyle/>
          <a:p>
            <a:r>
              <a:rPr lang="en-US" sz="3600" dirty="0"/>
              <a:t>Business Transformation through Customer Analytics</a:t>
            </a:r>
          </a:p>
        </p:txBody>
      </p:sp>
      <p:pic>
        <p:nvPicPr>
          <p:cNvPr id="29" name="Picture 2" descr="Businesswoman using her laptop at a coffee shop and taking notes  by poorartist | Stocksy United"/>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l="509" t="1" r="213" b="35424"/>
          <a:stretch/>
        </p:blipFill>
        <p:spPr bwMode="auto">
          <a:xfrm>
            <a:off x="303212" y="779599"/>
            <a:ext cx="3783041" cy="28615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Rectangle 24"/>
          <p:cNvSpPr/>
          <p:nvPr/>
        </p:nvSpPr>
        <p:spPr bwMode="auto">
          <a:xfrm>
            <a:off x="303213" y="2442039"/>
            <a:ext cx="3782975" cy="1215189"/>
          </a:xfrm>
          <a:prstGeom prst="rect">
            <a:avLst/>
          </a:prstGeom>
          <a:gradFill flip="none" rotWithShape="1">
            <a:gsLst>
              <a:gs pos="0">
                <a:srgbClr val="000000"/>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b" anchorCtr="0" forceAA="0" compatLnSpc="1">
            <a:prstTxWarp prst="textNoShape">
              <a:avLst/>
            </a:prstTxWarp>
            <a:noAutofit/>
          </a:bodyPr>
          <a:lstStyle/>
          <a:p>
            <a:pPr defTabSz="914126">
              <a:spcAft>
                <a:spcPts val="588"/>
              </a:spcAft>
            </a:pPr>
            <a:r>
              <a:rPr lang="en-US" sz="2600" dirty="0">
                <a:solidFill>
                  <a:prstClr val="white"/>
                </a:solidFill>
                <a:latin typeface="Segoe UI Light"/>
                <a:ea typeface="Roboto Light" panose="02000000000000000000" pitchFamily="2" charset="0"/>
                <a:cs typeface="Segoe UI Semibold" panose="020B0702040204020203" pitchFamily="34" charset="0"/>
              </a:rPr>
              <a:t>Customer Segmentation</a:t>
            </a:r>
          </a:p>
        </p:txBody>
      </p:sp>
      <p:sp>
        <p:nvSpPr>
          <p:cNvPr id="18" name="Rectangle 25"/>
          <p:cNvSpPr/>
          <p:nvPr/>
        </p:nvSpPr>
        <p:spPr bwMode="auto">
          <a:xfrm>
            <a:off x="4177401" y="2425997"/>
            <a:ext cx="3793283" cy="1215189"/>
          </a:xfrm>
          <a:prstGeom prst="rect">
            <a:avLst/>
          </a:prstGeom>
          <a:gradFill flip="none" rotWithShape="1">
            <a:gsLst>
              <a:gs pos="0">
                <a:srgbClr val="000000"/>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b" anchorCtr="0" forceAA="0" compatLnSpc="1">
            <a:prstTxWarp prst="textNoShape">
              <a:avLst/>
            </a:prstTxWarp>
            <a:noAutofit/>
          </a:bodyPr>
          <a:lstStyle/>
          <a:p>
            <a:pPr defTabSz="914126">
              <a:spcAft>
                <a:spcPts val="588"/>
              </a:spcAft>
            </a:pPr>
            <a:r>
              <a:rPr lang="en-US" sz="2600" dirty="0">
                <a:solidFill>
                  <a:prstClr val="white"/>
                </a:solidFill>
                <a:latin typeface="Segoe UI Light"/>
                <a:ea typeface="Roboto Light" panose="02000000000000000000" pitchFamily="2" charset="0"/>
                <a:cs typeface="Segoe UI Semibold" panose="020B0702040204020203" pitchFamily="34" charset="0"/>
              </a:rPr>
              <a:t>New Revenue Streams</a:t>
            </a:r>
          </a:p>
        </p:txBody>
      </p:sp>
      <p:sp>
        <p:nvSpPr>
          <p:cNvPr id="2" name="Slide Number Placeholder 1"/>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6</a:t>
            </a:fld>
            <a:endParaRPr lang="en-US" dirty="0">
              <a:solidFill>
                <a:srgbClr val="505050"/>
              </a:solidFill>
            </a:endParaRPr>
          </a:p>
        </p:txBody>
      </p:sp>
      <p:sp>
        <p:nvSpPr>
          <p:cNvPr id="13" name="Rectangle 24"/>
          <p:cNvSpPr/>
          <p:nvPr/>
        </p:nvSpPr>
        <p:spPr bwMode="auto">
          <a:xfrm>
            <a:off x="303213" y="3657229"/>
            <a:ext cx="3793283" cy="281977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14126">
              <a:spcAft>
                <a:spcPts val="588"/>
              </a:spcAft>
            </a:pPr>
            <a:r>
              <a:rPr lang="en-US" sz="1600" dirty="0">
                <a:solidFill>
                  <a:prstClr val="white"/>
                </a:solidFill>
              </a:rPr>
              <a:t>Understand your customers through segmentation so that you can better understand what drivers their purchasing patterns and propensity to churn.</a:t>
            </a:r>
          </a:p>
        </p:txBody>
      </p:sp>
      <p:sp>
        <p:nvSpPr>
          <p:cNvPr id="14" name="Rectangle 25"/>
          <p:cNvSpPr/>
          <p:nvPr/>
        </p:nvSpPr>
        <p:spPr bwMode="auto">
          <a:xfrm>
            <a:off x="8061833" y="3657229"/>
            <a:ext cx="3793283" cy="28197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14126">
              <a:spcAft>
                <a:spcPts val="588"/>
              </a:spcAft>
            </a:pPr>
            <a:r>
              <a:rPr lang="en-US" sz="1600" dirty="0">
                <a:solidFill>
                  <a:srgbClr val="000000"/>
                </a:solidFill>
              </a:rPr>
              <a:t>Deep understanding of customer buying patterns combined with predictive analytics will produce smarter, more cost-effective marketing campaigns and help to drive your business’ internal buying and marketing processes.</a:t>
            </a:r>
          </a:p>
        </p:txBody>
      </p:sp>
      <p:sp>
        <p:nvSpPr>
          <p:cNvPr id="15" name="Rectangle 25"/>
          <p:cNvSpPr/>
          <p:nvPr/>
        </p:nvSpPr>
        <p:spPr bwMode="auto">
          <a:xfrm>
            <a:off x="4183792" y="3657229"/>
            <a:ext cx="3793283" cy="28197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defTabSz="914126">
              <a:spcAft>
                <a:spcPts val="588"/>
              </a:spcAft>
            </a:pPr>
            <a:r>
              <a:rPr lang="en-US" sz="1600" dirty="0">
                <a:solidFill>
                  <a:prstClr val="white"/>
                </a:solidFill>
              </a:rPr>
              <a:t>Make better product roadmap decisions through Azure Advanced Analytics. Drive new revenue streams forward with cross-sell and up-sell opportunities that were not possible before without this analytical insight.</a:t>
            </a:r>
          </a:p>
        </p:txBody>
      </p:sp>
      <p:pic>
        <p:nvPicPr>
          <p:cNvPr id="16" name="Picture 15"/>
          <p:cNvPicPr>
            <a:picLocks noChangeAspect="1"/>
          </p:cNvPicPr>
          <p:nvPr/>
        </p:nvPicPr>
        <p:blipFill rotWithShape="1">
          <a:blip r:embed="rId5"/>
          <a:srcRect l="29998" r="29117"/>
          <a:stretch/>
        </p:blipFill>
        <p:spPr>
          <a:xfrm>
            <a:off x="8095997" y="778725"/>
            <a:ext cx="3771900" cy="2862461"/>
          </a:xfrm>
          <a:prstGeom prst="rect">
            <a:avLst/>
          </a:prstGeom>
        </p:spPr>
      </p:pic>
      <p:sp>
        <p:nvSpPr>
          <p:cNvPr id="17" name="Rectangle 25"/>
          <p:cNvSpPr/>
          <p:nvPr/>
        </p:nvSpPr>
        <p:spPr bwMode="auto">
          <a:xfrm>
            <a:off x="8074614" y="2462378"/>
            <a:ext cx="3793283" cy="1215189"/>
          </a:xfrm>
          <a:prstGeom prst="rect">
            <a:avLst/>
          </a:prstGeom>
          <a:gradFill flip="none" rotWithShape="1">
            <a:gsLst>
              <a:gs pos="0">
                <a:srgbClr val="000000"/>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b" anchorCtr="0" forceAA="0" compatLnSpc="1">
            <a:prstTxWarp prst="textNoShape">
              <a:avLst/>
            </a:prstTxWarp>
            <a:noAutofit/>
          </a:bodyPr>
          <a:lstStyle/>
          <a:p>
            <a:pPr defTabSz="914126">
              <a:spcAft>
                <a:spcPts val="588"/>
              </a:spcAft>
            </a:pPr>
            <a:r>
              <a:rPr lang="en-US" sz="2600" dirty="0">
                <a:solidFill>
                  <a:prstClr val="white"/>
                </a:solidFill>
                <a:latin typeface="Segoe UI Light"/>
                <a:ea typeface="Roboto Light" panose="02000000000000000000" pitchFamily="2" charset="0"/>
                <a:cs typeface="Segoe UI Semibold" panose="020B0702040204020203" pitchFamily="34" charset="0"/>
              </a:rPr>
              <a:t>Marketing Efficiency</a:t>
            </a:r>
          </a:p>
        </p:txBody>
      </p:sp>
    </p:spTree>
    <p:extLst>
      <p:ext uri="{BB962C8B-B14F-4D97-AF65-F5344CB8AC3E}">
        <p14:creationId xmlns:p14="http://schemas.microsoft.com/office/powerpoint/2010/main" val="745789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custDataLst>
              <p:tags r:id="rId1"/>
            </p:custDataLst>
          </p:nvPr>
        </p:nvSpPr>
        <p:spPr bwMode="auto">
          <a:xfrm>
            <a:off x="3983417" y="2056700"/>
            <a:ext cx="3608016" cy="2096744"/>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noAutofit/>
          </a:bodyPr>
          <a:lstStyle/>
          <a:p>
            <a:pPr marL="0" lvl="1" defTabSz="1624019">
              <a:spcBef>
                <a:spcPts val="600"/>
              </a:spcBef>
              <a:buClr>
                <a:srgbClr val="595959">
                  <a:lumMod val="75000"/>
                </a:srgbClr>
              </a:buClr>
              <a:defRPr/>
            </a:pPr>
            <a:r>
              <a:rPr lang="en-US" altLang="zh-CN" sz="2000" dirty="0">
                <a:solidFill>
                  <a:srgbClr val="0072C6"/>
                </a:solidFill>
                <a:latin typeface="Segoe UI Semibold" panose="020B0702040204020203" pitchFamily="34" charset="0"/>
                <a:ea typeface="Segoe UI" pitchFamily="34" charset="0"/>
                <a:cs typeface="Segoe UI Semibold" panose="020B0702040204020203" pitchFamily="34" charset="0"/>
              </a:rPr>
              <a:t>Employee</a:t>
            </a:r>
          </a:p>
          <a:p>
            <a:pPr marL="292100" lvl="1" indent="-201613" defTabSz="1624019">
              <a:spcBef>
                <a:spcPts val="200"/>
              </a:spcBef>
              <a:spcAft>
                <a:spcPts val="400"/>
              </a:spcAft>
              <a:buClr>
                <a:srgbClr val="595959">
                  <a:lumMod val="75000"/>
                </a:srgbClr>
              </a:buClr>
              <a:buFont typeface="Arial" pitchFamily="34" charset="0"/>
              <a:buChar char="•"/>
              <a:defRPr/>
            </a:pPr>
            <a:r>
              <a:rPr lang="en-IN" altLang="zh-CN" sz="1600" dirty="0">
                <a:solidFill>
                  <a:srgbClr val="505050"/>
                </a:solidFill>
                <a:ea typeface="Segoe UI" pitchFamily="34" charset="0"/>
                <a:cs typeface="Segoe UI" pitchFamily="34" charset="0"/>
              </a:rPr>
              <a:t>Provide better service based on customer insight</a:t>
            </a:r>
          </a:p>
          <a:p>
            <a:pPr marL="292100" lvl="1" indent="-201613" defTabSz="1624019">
              <a:spcBef>
                <a:spcPts val="200"/>
              </a:spcBef>
              <a:spcAft>
                <a:spcPts val="400"/>
              </a:spcAft>
              <a:buClr>
                <a:srgbClr val="595959">
                  <a:lumMod val="75000"/>
                </a:srgbClr>
              </a:buClr>
              <a:buFont typeface="Arial" pitchFamily="34" charset="0"/>
              <a:buChar char="•"/>
              <a:defRPr/>
            </a:pPr>
            <a:r>
              <a:rPr lang="en-IN" altLang="zh-CN" sz="1600" dirty="0">
                <a:solidFill>
                  <a:srgbClr val="505050"/>
                </a:solidFill>
                <a:ea typeface="Segoe UI" pitchFamily="34" charset="0"/>
                <a:cs typeface="Segoe UI" pitchFamily="34" charset="0"/>
              </a:rPr>
              <a:t>Access relevant information from throughout the company</a:t>
            </a:r>
          </a:p>
          <a:p>
            <a:pPr marL="292100" lvl="1" indent="-201613" defTabSz="1624019">
              <a:spcBef>
                <a:spcPts val="200"/>
              </a:spcBef>
              <a:spcAft>
                <a:spcPts val="400"/>
              </a:spcAft>
              <a:buClr>
                <a:srgbClr val="595959">
                  <a:lumMod val="75000"/>
                </a:srgbClr>
              </a:buClr>
              <a:buFont typeface="Arial" pitchFamily="34" charset="0"/>
              <a:buChar char="•"/>
              <a:defRPr/>
            </a:pPr>
            <a:r>
              <a:rPr lang="en-IN" altLang="zh-CN" sz="1600" dirty="0">
                <a:solidFill>
                  <a:srgbClr val="505050"/>
                </a:solidFill>
                <a:ea typeface="Segoe UI" pitchFamily="34" charset="0"/>
                <a:cs typeface="Segoe UI" pitchFamily="34" charset="0"/>
              </a:rPr>
              <a:t>Easily communicate and collaborate with each other</a:t>
            </a:r>
          </a:p>
        </p:txBody>
      </p:sp>
      <p:sp>
        <p:nvSpPr>
          <p:cNvPr id="20" name="Rectangle 19"/>
          <p:cNvSpPr/>
          <p:nvPr>
            <p:custDataLst>
              <p:tags r:id="rId2"/>
            </p:custDataLst>
          </p:nvPr>
        </p:nvSpPr>
        <p:spPr bwMode="auto">
          <a:xfrm>
            <a:off x="313701" y="2056700"/>
            <a:ext cx="3608016" cy="2096744"/>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noAutofit/>
          </a:bodyPr>
          <a:lstStyle/>
          <a:p>
            <a:pPr marL="0" lvl="1" defTabSz="1624019">
              <a:spcBef>
                <a:spcPts val="600"/>
              </a:spcBef>
              <a:buClr>
                <a:srgbClr val="595959">
                  <a:lumMod val="75000"/>
                </a:srgbClr>
              </a:buClr>
              <a:defRPr/>
            </a:pPr>
            <a:r>
              <a:rPr lang="en-US" altLang="zh-CN" sz="2000" dirty="0">
                <a:solidFill>
                  <a:srgbClr val="0072C6"/>
                </a:solidFill>
                <a:latin typeface="Segoe UI Semibold" panose="020B0702040204020203" pitchFamily="34" charset="0"/>
                <a:ea typeface="Segoe UI" pitchFamily="34" charset="0"/>
                <a:cs typeface="Segoe UI Semibold" panose="020B0702040204020203" pitchFamily="34" charset="0"/>
              </a:rPr>
              <a:t>Customer</a:t>
            </a:r>
          </a:p>
          <a:p>
            <a:pPr marL="292100" lvl="1" indent="-201613" defTabSz="1624019">
              <a:spcBef>
                <a:spcPts val="200"/>
              </a:spcBef>
              <a:spcAft>
                <a:spcPts val="400"/>
              </a:spcAft>
              <a:buClr>
                <a:srgbClr val="595959">
                  <a:lumMod val="75000"/>
                </a:srgbClr>
              </a:buClr>
              <a:buFont typeface="Arial" pitchFamily="34" charset="0"/>
              <a:buChar char="•"/>
              <a:defRPr/>
            </a:pPr>
            <a:r>
              <a:rPr lang="en-IN" altLang="zh-CN" sz="1600" dirty="0">
                <a:solidFill>
                  <a:srgbClr val="505050"/>
                </a:solidFill>
                <a:ea typeface="Segoe UI" pitchFamily="34" charset="0"/>
                <a:cs typeface="Segoe UI" pitchFamily="34" charset="0"/>
              </a:rPr>
              <a:t>Improved customer experience</a:t>
            </a:r>
          </a:p>
          <a:p>
            <a:pPr marL="292100" lvl="1" indent="-201613" defTabSz="1624019">
              <a:spcBef>
                <a:spcPts val="200"/>
              </a:spcBef>
              <a:spcAft>
                <a:spcPts val="400"/>
              </a:spcAft>
              <a:buClr>
                <a:srgbClr val="595959">
                  <a:lumMod val="75000"/>
                </a:srgbClr>
              </a:buClr>
              <a:buFont typeface="Arial" pitchFamily="34" charset="0"/>
              <a:buChar char="•"/>
              <a:defRPr/>
            </a:pPr>
            <a:r>
              <a:rPr lang="en-IN" altLang="zh-CN" sz="1600" dirty="0">
                <a:solidFill>
                  <a:srgbClr val="505050"/>
                </a:solidFill>
                <a:ea typeface="Segoe UI" pitchFamily="34" charset="0"/>
                <a:cs typeface="Segoe UI" pitchFamily="34" charset="0"/>
              </a:rPr>
              <a:t>Efficient service</a:t>
            </a:r>
          </a:p>
          <a:p>
            <a:pPr marL="292100" lvl="1" indent="-201613" defTabSz="1624019">
              <a:spcBef>
                <a:spcPts val="200"/>
              </a:spcBef>
              <a:spcAft>
                <a:spcPts val="400"/>
              </a:spcAft>
              <a:buClr>
                <a:srgbClr val="595959">
                  <a:lumMod val="75000"/>
                </a:srgbClr>
              </a:buClr>
              <a:buFont typeface="Arial" pitchFamily="34" charset="0"/>
              <a:buChar char="•"/>
              <a:defRPr/>
            </a:pPr>
            <a:r>
              <a:rPr lang="en-IN" altLang="zh-CN" sz="1600" dirty="0">
                <a:solidFill>
                  <a:srgbClr val="505050"/>
                </a:solidFill>
                <a:ea typeface="Segoe UI" pitchFamily="34" charset="0"/>
                <a:cs typeface="Segoe UI" pitchFamily="34" charset="0"/>
              </a:rPr>
              <a:t>Personalized and custom products and offers</a:t>
            </a:r>
            <a:endParaRPr lang="en-US" altLang="zh-CN" sz="1600" dirty="0">
              <a:solidFill>
                <a:srgbClr val="505050"/>
              </a:solidFill>
              <a:ea typeface="Segoe UI" pitchFamily="34" charset="0"/>
              <a:cs typeface="Segoe UI" pitchFamily="34" charset="0"/>
            </a:endParaRPr>
          </a:p>
        </p:txBody>
      </p:sp>
      <p:sp>
        <p:nvSpPr>
          <p:cNvPr id="21" name="Rectangle 20"/>
          <p:cNvSpPr/>
          <p:nvPr>
            <p:custDataLst>
              <p:tags r:id="rId3"/>
            </p:custDataLst>
          </p:nvPr>
        </p:nvSpPr>
        <p:spPr bwMode="auto">
          <a:xfrm>
            <a:off x="3983417" y="4198179"/>
            <a:ext cx="3608016" cy="2096744"/>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noAutofit/>
          </a:bodyPr>
          <a:lstStyle/>
          <a:p>
            <a:pPr marL="0" lvl="1" defTabSz="1624019">
              <a:spcBef>
                <a:spcPts val="600"/>
              </a:spcBef>
              <a:buClr>
                <a:srgbClr val="595959">
                  <a:lumMod val="75000"/>
                </a:srgbClr>
              </a:buClr>
              <a:defRPr/>
            </a:pPr>
            <a:r>
              <a:rPr lang="en-IN" altLang="zh-CN" sz="2000" dirty="0">
                <a:solidFill>
                  <a:srgbClr val="0072C6"/>
                </a:solidFill>
                <a:latin typeface="Segoe UI Semibold" panose="020B0702040204020203" pitchFamily="34" charset="0"/>
                <a:ea typeface="Segoe UI" pitchFamily="34" charset="0"/>
                <a:cs typeface="Segoe UI Semibold" panose="020B0702040204020203" pitchFamily="34" charset="0"/>
              </a:rPr>
              <a:t>Brand</a:t>
            </a:r>
          </a:p>
          <a:p>
            <a:pPr marL="292100" lvl="1" indent="-201613" defTabSz="1624019">
              <a:spcBef>
                <a:spcPts val="200"/>
              </a:spcBef>
              <a:spcAft>
                <a:spcPts val="400"/>
              </a:spcAft>
              <a:buClr>
                <a:srgbClr val="595959">
                  <a:lumMod val="75000"/>
                </a:srgbClr>
              </a:buClr>
              <a:buFont typeface="Arial" pitchFamily="34" charset="0"/>
              <a:buChar char="•"/>
              <a:defRPr/>
            </a:pPr>
            <a:r>
              <a:rPr lang="en-IN" sz="1600" dirty="0">
                <a:solidFill>
                  <a:srgbClr val="505050"/>
                </a:solidFill>
                <a:ea typeface="Segoe UI" pitchFamily="34" charset="0"/>
                <a:cs typeface="Segoe UI" pitchFamily="34" charset="0"/>
              </a:rPr>
              <a:t>Personal service</a:t>
            </a:r>
          </a:p>
          <a:p>
            <a:pPr marL="292100" lvl="1" indent="-201613" defTabSz="1624019">
              <a:spcBef>
                <a:spcPts val="200"/>
              </a:spcBef>
              <a:spcAft>
                <a:spcPts val="400"/>
              </a:spcAft>
              <a:buClr>
                <a:srgbClr val="595959">
                  <a:lumMod val="75000"/>
                </a:srgbClr>
              </a:buClr>
              <a:buFont typeface="Arial" pitchFamily="34" charset="0"/>
              <a:buChar char="•"/>
              <a:defRPr/>
            </a:pPr>
            <a:r>
              <a:rPr lang="en-IN" sz="1600" dirty="0">
                <a:solidFill>
                  <a:srgbClr val="505050"/>
                </a:solidFill>
                <a:ea typeface="Segoe UI" pitchFamily="34" charset="0"/>
                <a:cs typeface="Segoe UI" pitchFamily="34" charset="0"/>
              </a:rPr>
              <a:t>Insightful offers</a:t>
            </a:r>
          </a:p>
          <a:p>
            <a:pPr marL="292100" lvl="1" indent="-201613" defTabSz="1624019">
              <a:spcBef>
                <a:spcPts val="200"/>
              </a:spcBef>
              <a:spcAft>
                <a:spcPts val="400"/>
              </a:spcAft>
              <a:buClr>
                <a:srgbClr val="595959">
                  <a:lumMod val="75000"/>
                </a:srgbClr>
              </a:buClr>
              <a:buFont typeface="Arial" pitchFamily="34" charset="0"/>
              <a:buChar char="•"/>
              <a:defRPr/>
            </a:pPr>
            <a:r>
              <a:rPr lang="en-IN" sz="1600" dirty="0">
                <a:solidFill>
                  <a:srgbClr val="505050"/>
                </a:solidFill>
                <a:ea typeface="Segoe UI" pitchFamily="34" charset="0"/>
                <a:cs typeface="Segoe UI" pitchFamily="34" charset="0"/>
              </a:rPr>
              <a:t>Innovative products and services</a:t>
            </a:r>
          </a:p>
          <a:p>
            <a:pPr marL="292100" lvl="1" indent="-201613" defTabSz="1624019">
              <a:spcBef>
                <a:spcPts val="200"/>
              </a:spcBef>
              <a:spcAft>
                <a:spcPts val="400"/>
              </a:spcAft>
              <a:buClr>
                <a:srgbClr val="595959">
                  <a:lumMod val="75000"/>
                </a:srgbClr>
              </a:buClr>
              <a:buFont typeface="Arial" pitchFamily="34" charset="0"/>
              <a:buChar char="•"/>
              <a:defRPr/>
            </a:pPr>
            <a:endParaRPr lang="en-IN" sz="1600" dirty="0">
              <a:solidFill>
                <a:srgbClr val="505050"/>
              </a:solidFill>
              <a:ea typeface="Segoe UI" pitchFamily="34" charset="0"/>
              <a:cs typeface="Segoe UI" pitchFamily="34" charset="0"/>
            </a:endParaRPr>
          </a:p>
        </p:txBody>
      </p:sp>
      <p:sp>
        <p:nvSpPr>
          <p:cNvPr id="22" name="Rectangle 21"/>
          <p:cNvSpPr/>
          <p:nvPr>
            <p:custDataLst>
              <p:tags r:id="rId4"/>
            </p:custDataLst>
          </p:nvPr>
        </p:nvSpPr>
        <p:spPr bwMode="auto">
          <a:xfrm>
            <a:off x="313701" y="4198179"/>
            <a:ext cx="3608016" cy="2096744"/>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noAutofit/>
          </a:bodyPr>
          <a:lstStyle/>
          <a:p>
            <a:pPr marL="0" lvl="1" defTabSz="1624019">
              <a:spcBef>
                <a:spcPts val="600"/>
              </a:spcBef>
              <a:buClr>
                <a:srgbClr val="595959">
                  <a:lumMod val="75000"/>
                </a:srgbClr>
              </a:buClr>
              <a:defRPr/>
            </a:pPr>
            <a:r>
              <a:rPr lang="en-IN" altLang="zh-CN" sz="2000" dirty="0">
                <a:solidFill>
                  <a:srgbClr val="0072C6"/>
                </a:solidFill>
                <a:latin typeface="Segoe UI Semibold" panose="020B0702040204020203" pitchFamily="34" charset="0"/>
                <a:ea typeface="Segoe UI" pitchFamily="34" charset="0"/>
                <a:cs typeface="Segoe UI Semibold" panose="020B0702040204020203" pitchFamily="34" charset="0"/>
              </a:rPr>
              <a:t>Innovation</a:t>
            </a:r>
          </a:p>
          <a:p>
            <a:pPr marL="292100" lvl="1" indent="-201613" defTabSz="1624019">
              <a:spcBef>
                <a:spcPts val="200"/>
              </a:spcBef>
              <a:spcAft>
                <a:spcPts val="400"/>
              </a:spcAft>
              <a:buClr>
                <a:srgbClr val="595959">
                  <a:lumMod val="75000"/>
                </a:srgbClr>
              </a:buClr>
              <a:buFont typeface="Arial" pitchFamily="34" charset="0"/>
              <a:buChar char="•"/>
              <a:defRPr/>
            </a:pPr>
            <a:r>
              <a:rPr lang="en-IN" sz="1600" dirty="0">
                <a:solidFill>
                  <a:srgbClr val="505050"/>
                </a:solidFill>
                <a:ea typeface="Segoe UI" pitchFamily="34" charset="0"/>
                <a:cs typeface="Segoe UI" pitchFamily="34" charset="0"/>
              </a:rPr>
              <a:t>Increased innovation in delivering end-to-end experiences in a customer’s journey</a:t>
            </a:r>
          </a:p>
          <a:p>
            <a:pPr marL="292100" lvl="1" indent="-201613" defTabSz="1624019">
              <a:spcBef>
                <a:spcPts val="200"/>
              </a:spcBef>
              <a:spcAft>
                <a:spcPts val="400"/>
              </a:spcAft>
              <a:buClr>
                <a:srgbClr val="595959">
                  <a:lumMod val="75000"/>
                </a:srgbClr>
              </a:buClr>
              <a:buFont typeface="Arial" pitchFamily="34" charset="0"/>
              <a:buChar char="•"/>
              <a:defRPr/>
            </a:pPr>
            <a:r>
              <a:rPr lang="en-IN" sz="1600" dirty="0">
                <a:solidFill>
                  <a:srgbClr val="505050"/>
                </a:solidFill>
                <a:ea typeface="Segoe UI" pitchFamily="34" charset="0"/>
                <a:cs typeface="Segoe UI" pitchFamily="34" charset="0"/>
              </a:rPr>
              <a:t>Enhanced market insights</a:t>
            </a:r>
          </a:p>
          <a:p>
            <a:pPr marL="292100" lvl="1" indent="-201613" defTabSz="1624019">
              <a:spcBef>
                <a:spcPts val="200"/>
              </a:spcBef>
              <a:spcAft>
                <a:spcPts val="400"/>
              </a:spcAft>
              <a:buClr>
                <a:srgbClr val="595959">
                  <a:lumMod val="75000"/>
                </a:srgbClr>
              </a:buClr>
              <a:buFont typeface="Arial" pitchFamily="34" charset="0"/>
              <a:buChar char="•"/>
              <a:defRPr/>
            </a:pPr>
            <a:r>
              <a:rPr lang="en-IN" sz="1600" dirty="0">
                <a:solidFill>
                  <a:srgbClr val="505050"/>
                </a:solidFill>
                <a:ea typeface="Segoe UI" pitchFamily="34" charset="0"/>
                <a:cs typeface="Segoe UI" pitchFamily="34" charset="0"/>
              </a:rPr>
              <a:t>Accelerated pace of new ideas generation (Marketing/Sales)</a:t>
            </a:r>
          </a:p>
        </p:txBody>
      </p:sp>
      <p:sp>
        <p:nvSpPr>
          <p:cNvPr id="2" name="Title 1"/>
          <p:cNvSpPr>
            <a:spLocks noGrp="1"/>
          </p:cNvSpPr>
          <p:nvPr>
            <p:ph type="title"/>
          </p:nvPr>
        </p:nvSpPr>
        <p:spPr/>
        <p:txBody>
          <a:bodyPr/>
          <a:lstStyle/>
          <a:p>
            <a:r>
              <a:rPr lang="en-US" dirty="0"/>
              <a:t>Value Realization Scorecard</a:t>
            </a:r>
          </a:p>
        </p:txBody>
      </p:sp>
      <p:sp>
        <p:nvSpPr>
          <p:cNvPr id="16" name="Text Placeholder 15"/>
          <p:cNvSpPr>
            <a:spLocks noGrp="1"/>
          </p:cNvSpPr>
          <p:nvPr>
            <p:ph type="body" sz="quarter" idx="13"/>
          </p:nvPr>
        </p:nvSpPr>
        <p:spPr/>
        <p:txBody>
          <a:bodyPr/>
          <a:lstStyle/>
          <a:p>
            <a:r>
              <a:rPr lang="en-IN" dirty="0"/>
              <a:t>Measure business impact of Customer Analytics</a:t>
            </a:r>
          </a:p>
        </p:txBody>
      </p:sp>
      <p:sp>
        <p:nvSpPr>
          <p:cNvPr id="3" name="Slide Number Placeholder 2"/>
          <p:cNvSpPr>
            <a:spLocks noGrp="1"/>
          </p:cNvSpPr>
          <p:nvPr>
            <p:ph type="sldNum" sz="quarter" idx="15"/>
          </p:nvPr>
        </p:nvSpPr>
        <p:spPr/>
        <p:txBody>
          <a:bodyPr/>
          <a:lstStyle/>
          <a:p>
            <a:fld id="{FAADACFB-7C71-4E89-89D2-7BBA40B7BFA9}" type="slidenum">
              <a:rPr lang="en-US" smtClean="0">
                <a:solidFill>
                  <a:srgbClr val="505050"/>
                </a:solidFill>
              </a:rPr>
              <a:pPr/>
              <a:t>7</a:t>
            </a:fld>
            <a:endParaRPr lang="en-US" dirty="0">
              <a:solidFill>
                <a:srgbClr val="505050"/>
              </a:solidFill>
            </a:endParaRPr>
          </a:p>
        </p:txBody>
      </p:sp>
      <p:sp>
        <p:nvSpPr>
          <p:cNvPr id="30" name="Right Arrow 29"/>
          <p:cNvSpPr/>
          <p:nvPr/>
        </p:nvSpPr>
        <p:spPr>
          <a:xfrm>
            <a:off x="7673840" y="3961752"/>
            <a:ext cx="367703" cy="428119"/>
          </a:xfrm>
          <a:prstGeom prst="rightArrow">
            <a:avLst>
              <a:gd name="adj1" fmla="val 50000"/>
              <a:gd name="adj2" fmla="val 47551"/>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solidFill>
                <a:prstClr val="white"/>
              </a:solidFill>
            </a:endParaRPr>
          </a:p>
        </p:txBody>
      </p:sp>
      <p:sp>
        <p:nvSpPr>
          <p:cNvPr id="31" name="Rectangle 30"/>
          <p:cNvSpPr/>
          <p:nvPr>
            <p:custDataLst>
              <p:tags r:id="rId5"/>
            </p:custDataLst>
          </p:nvPr>
        </p:nvSpPr>
        <p:spPr bwMode="auto">
          <a:xfrm>
            <a:off x="8123950" y="2056700"/>
            <a:ext cx="3761664" cy="4238223"/>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lstStyle/>
          <a:p>
            <a:pPr marL="201613" lvl="1" indent="-201613" defTabSz="1624019">
              <a:spcBef>
                <a:spcPts val="600"/>
              </a:spcBef>
              <a:buClr>
                <a:srgbClr val="595959">
                  <a:lumMod val="75000"/>
                </a:srgbClr>
              </a:buClr>
              <a:buFont typeface="Arial" pitchFamily="34" charset="0"/>
              <a:buChar char="•"/>
            </a:pPr>
            <a:r>
              <a:rPr lang="en-IN" altLang="zh-CN" sz="1600" dirty="0">
                <a:solidFill>
                  <a:srgbClr val="505050"/>
                </a:solidFill>
                <a:ea typeface="Segoe UI" pitchFamily="34" charset="0"/>
                <a:cs typeface="Segoe UI" pitchFamily="34" charset="0"/>
              </a:rPr>
              <a:t>Reduced customer churn</a:t>
            </a:r>
          </a:p>
          <a:p>
            <a:pPr marL="201613" lvl="1" indent="-201613" defTabSz="1624019">
              <a:spcBef>
                <a:spcPts val="600"/>
              </a:spcBef>
              <a:buClr>
                <a:srgbClr val="595959">
                  <a:lumMod val="75000"/>
                </a:srgbClr>
              </a:buClr>
              <a:buFont typeface="Arial" pitchFamily="34" charset="0"/>
              <a:buChar char="•"/>
            </a:pPr>
            <a:r>
              <a:rPr lang="en-IN" altLang="zh-CN" sz="1600" dirty="0">
                <a:solidFill>
                  <a:srgbClr val="505050"/>
                </a:solidFill>
                <a:ea typeface="Segoe UI" pitchFamily="34" charset="0"/>
                <a:cs typeface="Segoe UI" pitchFamily="34" charset="0"/>
              </a:rPr>
              <a:t>Improved Revenue (cross/up sell)</a:t>
            </a:r>
          </a:p>
          <a:p>
            <a:pPr marL="201613" lvl="1" indent="-201613" defTabSz="1624019">
              <a:spcBef>
                <a:spcPts val="600"/>
              </a:spcBef>
              <a:buClr>
                <a:srgbClr val="595959">
                  <a:lumMod val="75000"/>
                </a:srgbClr>
              </a:buClr>
              <a:buFont typeface="Arial" pitchFamily="34" charset="0"/>
              <a:buChar char="•"/>
            </a:pPr>
            <a:r>
              <a:rPr lang="en-IN" altLang="zh-CN" sz="1600" dirty="0">
                <a:solidFill>
                  <a:srgbClr val="505050"/>
                </a:solidFill>
                <a:ea typeface="Segoe UI" pitchFamily="34" charset="0"/>
                <a:cs typeface="Segoe UI" pitchFamily="34" charset="0"/>
              </a:rPr>
              <a:t>Improved customer satisfaction</a:t>
            </a:r>
          </a:p>
          <a:p>
            <a:pPr marL="201613" lvl="1" indent="-201613" defTabSz="1624019">
              <a:spcBef>
                <a:spcPts val="600"/>
              </a:spcBef>
              <a:buClr>
                <a:srgbClr val="595959">
                  <a:lumMod val="75000"/>
                </a:srgbClr>
              </a:buClr>
              <a:buFont typeface="Arial" pitchFamily="34" charset="0"/>
              <a:buChar char="•"/>
            </a:pPr>
            <a:r>
              <a:rPr lang="en-IN" altLang="zh-CN" sz="1600" dirty="0">
                <a:solidFill>
                  <a:srgbClr val="505050"/>
                </a:solidFill>
                <a:ea typeface="Segoe UI" pitchFamily="34" charset="0"/>
                <a:cs typeface="Segoe UI" pitchFamily="34" charset="0"/>
              </a:rPr>
              <a:t>Data-driven business decision making</a:t>
            </a:r>
          </a:p>
        </p:txBody>
      </p:sp>
      <p:sp>
        <p:nvSpPr>
          <p:cNvPr id="32" name="TextBox 31"/>
          <p:cNvSpPr txBox="1"/>
          <p:nvPr/>
        </p:nvSpPr>
        <p:spPr>
          <a:xfrm>
            <a:off x="313701" y="1597793"/>
            <a:ext cx="7277732" cy="467226"/>
          </a:xfrm>
          <a:prstGeom prst="rect">
            <a:avLst/>
          </a:prstGeom>
          <a:solidFill>
            <a:schemeClr val="tx2"/>
          </a:solidFill>
        </p:spPr>
        <p:txBody>
          <a:bodyPr vert="horz" wrap="square" lIns="137124" tIns="45708" rIns="137124" bIns="45708" rtlCol="0" anchor="ctr">
            <a:spAutoFit/>
          </a:bodyPr>
          <a:lstStyle/>
          <a:p>
            <a:pPr marL="0" lvl="1" algn="ctr" fontAlgn="base">
              <a:buClr>
                <a:srgbClr val="FFFF99"/>
              </a:buClr>
              <a:buSzPct val="90000"/>
              <a:defRPr/>
            </a:pPr>
            <a:r>
              <a:rPr lang="en-US" altLang="zh-CN" sz="2399" dirty="0">
                <a:solidFill>
                  <a:prstClr val="white"/>
                </a:solidFill>
                <a:latin typeface="Segoe UI Light"/>
                <a:cs typeface="Segoe UI" pitchFamily="34" charset="0"/>
              </a:rPr>
              <a:t>Optimize Your Business</a:t>
            </a:r>
          </a:p>
        </p:txBody>
      </p:sp>
      <p:sp>
        <p:nvSpPr>
          <p:cNvPr id="33" name="TextBox 32"/>
          <p:cNvSpPr txBox="1"/>
          <p:nvPr/>
        </p:nvSpPr>
        <p:spPr>
          <a:xfrm>
            <a:off x="8123950" y="1597793"/>
            <a:ext cx="3761664" cy="467226"/>
          </a:xfrm>
          <a:prstGeom prst="rect">
            <a:avLst/>
          </a:prstGeom>
          <a:solidFill>
            <a:schemeClr val="accent1"/>
          </a:solidFill>
        </p:spPr>
        <p:txBody>
          <a:bodyPr vert="horz" wrap="square" lIns="137124" tIns="45708" rIns="137124" bIns="45708" rtlCol="0" anchor="ctr">
            <a:spAutoFit/>
          </a:bodyPr>
          <a:lstStyle/>
          <a:p>
            <a:pPr marL="0" lvl="1" fontAlgn="base">
              <a:buClr>
                <a:srgbClr val="FFFF99"/>
              </a:buClr>
              <a:buSzPct val="90000"/>
            </a:pPr>
            <a:r>
              <a:rPr lang="en-US" altLang="zh-CN" sz="2399" dirty="0">
                <a:solidFill>
                  <a:prstClr val="white"/>
                </a:solidFill>
                <a:latin typeface="Segoe UI Light"/>
                <a:cs typeface="Segoe UI" pitchFamily="34" charset="0"/>
              </a:rPr>
              <a:t>Business Outcomes/Results</a:t>
            </a:r>
          </a:p>
        </p:txBody>
      </p:sp>
      <p:pic>
        <p:nvPicPr>
          <p:cNvPr id="13" name="Picture 4"/>
          <p:cNvPicPr>
            <a:picLocks noChangeAspect="1" noChangeArrowheads="1"/>
          </p:cNvPicPr>
          <p:nvPr>
            <p:custDataLst>
              <p:tags r:id="rId6"/>
            </p:custDataLst>
          </p:nvPr>
        </p:nvPicPr>
        <p:blipFill rotWithShape="1">
          <a:blip r:embed="rId9" cstate="screen">
            <a:extLst>
              <a:ext uri="{28A0092B-C50C-407E-A947-70E740481C1C}">
                <a14:useLocalDpi xmlns:a14="http://schemas.microsoft.com/office/drawing/2010/main"/>
              </a:ext>
            </a:extLst>
          </a:blip>
          <a:srcRect l="1390" t="15938" r="454" b="38280"/>
          <a:stretch/>
        </p:blipFill>
        <p:spPr bwMode="auto">
          <a:xfrm>
            <a:off x="8123950" y="4840514"/>
            <a:ext cx="3761664" cy="1481489"/>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2947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6353" y="3377"/>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270" imgH="270" progId="TCLayout.ActiveDocument.1">
                  <p:embed/>
                </p:oleObj>
              </mc:Choice>
              <mc:Fallback>
                <p:oleObj name="think-cell Slide" r:id="rId5" imgW="270" imgH="270" progId="TCLayout.ActiveDocument.1">
                  <p:embed/>
                  <p:pic>
                    <p:nvPicPr>
                      <p:cNvPr id="54" name="Object 53" hidden="1"/>
                      <p:cNvPicPr/>
                      <p:nvPr/>
                    </p:nvPicPr>
                    <p:blipFill>
                      <a:blip r:embed="rId6"/>
                      <a:stretch>
                        <a:fillRect/>
                      </a:stretch>
                    </p:blipFill>
                    <p:spPr>
                      <a:xfrm>
                        <a:off x="6353" y="3377"/>
                        <a:ext cx="1587" cy="1587"/>
                      </a:xfrm>
                      <a:prstGeom prst="rect">
                        <a:avLst/>
                      </a:prstGeom>
                    </p:spPr>
                  </p:pic>
                </p:oleObj>
              </mc:Fallback>
            </mc:AlternateContent>
          </a:graphicData>
        </a:graphic>
      </p:graphicFrame>
      <p:sp>
        <p:nvSpPr>
          <p:cNvPr id="6" name="Title 5"/>
          <p:cNvSpPr>
            <a:spLocks noGrp="1"/>
          </p:cNvSpPr>
          <p:nvPr>
            <p:ph type="title"/>
          </p:nvPr>
        </p:nvSpPr>
        <p:spPr>
          <a:xfrm>
            <a:off x="116116" y="-2488"/>
            <a:ext cx="10994570" cy="761688"/>
          </a:xfrm>
        </p:spPr>
        <p:txBody>
          <a:bodyPr/>
          <a:lstStyle/>
          <a:p>
            <a:pPr algn="ctr"/>
            <a:r>
              <a:rPr lang="en-US" dirty="0"/>
              <a:t>Azure </a:t>
            </a:r>
            <a:r>
              <a:rPr lang="en-US" dirty="0" err="1"/>
              <a:t>HiPo</a:t>
            </a:r>
            <a:r>
              <a:rPr lang="en-US" dirty="0"/>
              <a:t> Team Business Solution Process</a:t>
            </a:r>
          </a:p>
        </p:txBody>
      </p:sp>
      <p:sp>
        <p:nvSpPr>
          <p:cNvPr id="135" name="Rectangle 134"/>
          <p:cNvSpPr/>
          <p:nvPr/>
        </p:nvSpPr>
        <p:spPr>
          <a:xfrm>
            <a:off x="6139457" y="4098474"/>
            <a:ext cx="3005513" cy="522948"/>
          </a:xfrm>
          <a:prstGeom prst="rect">
            <a:avLst/>
          </a:prstGeom>
        </p:spPr>
        <p:txBody>
          <a:bodyPr wrap="square">
            <a:spAutoFit/>
          </a:bodyPr>
          <a:lstStyle/>
          <a:p>
            <a:pPr algn="ctr" defTabSz="2887516"/>
            <a:r>
              <a:rPr lang="en-US" sz="1400" dirty="0">
                <a:solidFill>
                  <a:srgbClr val="FFFFFF"/>
                </a:solidFill>
                <a:latin typeface="Segoe UI Semibold" panose="020B0702040204020203" pitchFamily="34" charset="0"/>
                <a:cs typeface="Segoe UI Semibold" panose="020B0702040204020203" pitchFamily="34" charset="0"/>
              </a:rPr>
              <a:t>Capability </a:t>
            </a:r>
            <a:br>
              <a:rPr lang="en-US" sz="1400" dirty="0">
                <a:solidFill>
                  <a:srgbClr val="FFFFFF"/>
                </a:solidFill>
                <a:latin typeface="Segoe UI Semibold" panose="020B0702040204020203" pitchFamily="34" charset="0"/>
                <a:cs typeface="Segoe UI Semibold" panose="020B0702040204020203" pitchFamily="34" charset="0"/>
              </a:rPr>
            </a:br>
            <a:r>
              <a:rPr lang="en-US" sz="1400" dirty="0">
                <a:solidFill>
                  <a:srgbClr val="FFFFFF"/>
                </a:solidFill>
                <a:latin typeface="Segoe UI Semibold" panose="020B0702040204020203" pitchFamily="34" charset="0"/>
                <a:cs typeface="Segoe UI Semibold" panose="020B0702040204020203" pitchFamily="34" charset="0"/>
              </a:rPr>
              <a:t>and Analytics Mapping</a:t>
            </a:r>
          </a:p>
        </p:txBody>
      </p:sp>
      <p:sp>
        <p:nvSpPr>
          <p:cNvPr id="136" name="Rectangle 135"/>
          <p:cNvSpPr/>
          <p:nvPr/>
        </p:nvSpPr>
        <p:spPr>
          <a:xfrm>
            <a:off x="6768076" y="2992156"/>
            <a:ext cx="1739078" cy="307617"/>
          </a:xfrm>
          <a:prstGeom prst="rect">
            <a:avLst/>
          </a:prstGeom>
        </p:spPr>
        <p:txBody>
          <a:bodyPr wrap="square">
            <a:spAutoFit/>
          </a:bodyPr>
          <a:lstStyle/>
          <a:p>
            <a:pPr algn="ctr" defTabSz="2887516"/>
            <a:r>
              <a:rPr lang="en-US" sz="1400" b="1" dirty="0">
                <a:solidFill>
                  <a:srgbClr val="FFFFFF"/>
                </a:solidFill>
                <a:latin typeface="Segoe UI Semibold" panose="020B0702040204020203" pitchFamily="34" charset="0"/>
                <a:cs typeface="Segoe UI Semibold" panose="020B0702040204020203" pitchFamily="34" charset="0"/>
              </a:rPr>
              <a:t>Data Engineering</a:t>
            </a:r>
          </a:p>
        </p:txBody>
      </p:sp>
      <p:sp>
        <p:nvSpPr>
          <p:cNvPr id="137" name="Rectangle 136"/>
          <p:cNvSpPr/>
          <p:nvPr/>
        </p:nvSpPr>
        <p:spPr>
          <a:xfrm rot="18205681">
            <a:off x="4721810" y="5667727"/>
            <a:ext cx="1281954" cy="184666"/>
          </a:xfrm>
          <a:prstGeom prst="rect">
            <a:avLst/>
          </a:prstGeom>
          <a:solidFill>
            <a:schemeClr val="bg1"/>
          </a:solidFill>
          <a:ln w="12700">
            <a:noFill/>
          </a:ln>
        </p:spPr>
        <p:txBody>
          <a:bodyPr wrap="none" lIns="0" tIns="0" rIns="0" bIns="0">
            <a:spAutoFit/>
          </a:bodyPr>
          <a:lstStyle/>
          <a:p>
            <a:pPr algn="ctr" fontAlgn="base">
              <a:spcBef>
                <a:spcPct val="0"/>
              </a:spcBef>
              <a:spcAft>
                <a:spcPct val="0"/>
              </a:spcAft>
            </a:pPr>
            <a:r>
              <a:rPr lang="en-US" sz="1200" b="1" dirty="0">
                <a:solidFill>
                  <a:srgbClr val="000000">
                    <a:lumMod val="75000"/>
                    <a:lumOff val="25000"/>
                  </a:srgbClr>
                </a:solidFill>
                <a:cs typeface="Segoe UI Semibold" panose="020B0702040204020203" pitchFamily="34" charset="0"/>
              </a:rPr>
              <a:t>Partner Execution</a:t>
            </a:r>
          </a:p>
        </p:txBody>
      </p:sp>
      <p:sp>
        <p:nvSpPr>
          <p:cNvPr id="56" name="Text Placeholder 28"/>
          <p:cNvSpPr txBox="1">
            <a:spLocks/>
          </p:cNvSpPr>
          <p:nvPr/>
        </p:nvSpPr>
        <p:spPr>
          <a:xfrm>
            <a:off x="357280" y="673751"/>
            <a:ext cx="10884033" cy="373063"/>
          </a:xfrm>
          <a:prstGeom prst="rect">
            <a:avLst/>
          </a:prstGeom>
        </p:spPr>
        <p:txBody>
          <a:bodyPr/>
          <a:lst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lgn="ctr"/>
            <a:r>
              <a:rPr lang="en-US" dirty="0"/>
              <a:t>Customer Analytics</a:t>
            </a:r>
          </a:p>
        </p:txBody>
      </p:sp>
      <p:sp>
        <p:nvSpPr>
          <p:cNvPr id="57" name="Rectangle 56"/>
          <p:cNvSpPr/>
          <p:nvPr/>
        </p:nvSpPr>
        <p:spPr>
          <a:xfrm rot="18070515">
            <a:off x="5711734" y="4234095"/>
            <a:ext cx="1101712" cy="184666"/>
          </a:xfrm>
          <a:prstGeom prst="rect">
            <a:avLst/>
          </a:prstGeom>
          <a:solidFill>
            <a:schemeClr val="bg1"/>
          </a:solidFill>
          <a:ln w="12700">
            <a:noFill/>
          </a:ln>
        </p:spPr>
        <p:txBody>
          <a:bodyPr wrap="none" lIns="0" tIns="0" rIns="0" bIns="0">
            <a:spAutoFit/>
          </a:bodyPr>
          <a:lstStyle/>
          <a:p>
            <a:pPr algn="ctr" fontAlgn="base">
              <a:spcBef>
                <a:spcPct val="0"/>
              </a:spcBef>
              <a:spcAft>
                <a:spcPct val="0"/>
              </a:spcAft>
            </a:pPr>
            <a:r>
              <a:rPr lang="en-US" sz="1200" b="1" dirty="0">
                <a:solidFill>
                  <a:srgbClr val="000000">
                    <a:lumMod val="75000"/>
                    <a:lumOff val="25000"/>
                  </a:srgbClr>
                </a:solidFill>
                <a:cs typeface="Segoe UI Semibold" panose="020B0702040204020203" pitchFamily="34" charset="0"/>
              </a:rPr>
              <a:t>POC/Prototype</a:t>
            </a:r>
          </a:p>
        </p:txBody>
      </p:sp>
      <p:sp>
        <p:nvSpPr>
          <p:cNvPr id="4" name="Right Arrow Callout 3"/>
          <p:cNvSpPr/>
          <p:nvPr/>
        </p:nvSpPr>
        <p:spPr>
          <a:xfrm>
            <a:off x="364538" y="1046814"/>
            <a:ext cx="7645605" cy="1321840"/>
          </a:xfrm>
          <a:prstGeom prst="rightArrowCallout">
            <a:avLst>
              <a:gd name="adj1" fmla="val 25000"/>
              <a:gd name="adj2" fmla="val 25000"/>
              <a:gd name="adj3" fmla="val 25000"/>
              <a:gd name="adj4" fmla="val 517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171450" indent="-171450" fontAlgn="base">
              <a:spcBef>
                <a:spcPct val="0"/>
              </a:spcBef>
              <a:spcAft>
                <a:spcPts val="100"/>
              </a:spcAft>
              <a:buClr>
                <a:schemeClr val="bg1"/>
              </a:buClr>
              <a:buFont typeface="Arial" panose="020B0604020202020204" pitchFamily="34" charset="0"/>
              <a:buChar char="•"/>
            </a:pPr>
            <a:r>
              <a:rPr lang="en-IN" sz="1000" dirty="0">
                <a:solidFill>
                  <a:schemeClr val="bg1"/>
                </a:solidFill>
                <a:cs typeface="Segoe UI Semibold" panose="020B0702040204020203" pitchFamily="34" charset="0"/>
              </a:rPr>
              <a:t>Provision POC on your Azure non-prod subscription</a:t>
            </a:r>
          </a:p>
          <a:p>
            <a:pPr marL="171450" indent="-171450" fontAlgn="base">
              <a:spcBef>
                <a:spcPct val="0"/>
              </a:spcBef>
              <a:spcAft>
                <a:spcPts val="100"/>
              </a:spcAft>
              <a:buClr>
                <a:schemeClr val="bg1"/>
              </a:buClr>
              <a:buFont typeface="Arial" panose="020B0604020202020204" pitchFamily="34" charset="0"/>
              <a:buChar char="•"/>
            </a:pPr>
            <a:r>
              <a:rPr lang="en-IN" sz="1000" dirty="0">
                <a:solidFill>
                  <a:schemeClr val="bg1"/>
                </a:solidFill>
                <a:cs typeface="Segoe UI Semibold" panose="020B0702040204020203" pitchFamily="34" charset="0"/>
              </a:rPr>
              <a:t>Establish data flow from source systems</a:t>
            </a:r>
          </a:p>
          <a:p>
            <a:pPr marL="171450" indent="-171450" fontAlgn="base">
              <a:spcBef>
                <a:spcPct val="0"/>
              </a:spcBef>
              <a:spcAft>
                <a:spcPts val="100"/>
              </a:spcAft>
              <a:buClr>
                <a:schemeClr val="bg1"/>
              </a:buClr>
              <a:buFont typeface="Arial" panose="020B0604020202020204" pitchFamily="34" charset="0"/>
              <a:buChar char="•"/>
            </a:pPr>
            <a:r>
              <a:rPr lang="en-IN" sz="1000" dirty="0">
                <a:solidFill>
                  <a:schemeClr val="bg1"/>
                </a:solidFill>
                <a:cs typeface="Segoe UI Semibold" panose="020B0702040204020203" pitchFamily="34" charset="0"/>
              </a:rPr>
              <a:t>Validate scalability, performance and reliability</a:t>
            </a:r>
          </a:p>
          <a:p>
            <a:pPr marL="171450" indent="-171450" fontAlgn="base">
              <a:spcBef>
                <a:spcPct val="0"/>
              </a:spcBef>
              <a:spcAft>
                <a:spcPts val="100"/>
              </a:spcAft>
              <a:buClr>
                <a:schemeClr val="bg1"/>
              </a:buClr>
              <a:buFont typeface="Arial" panose="020B0604020202020204" pitchFamily="34" charset="0"/>
              <a:buChar char="•"/>
            </a:pPr>
            <a:r>
              <a:rPr lang="en-IN" sz="1000" dirty="0">
                <a:solidFill>
                  <a:schemeClr val="bg1"/>
                </a:solidFill>
                <a:cs typeface="Segoe UI Semibold" panose="020B0702040204020203" pitchFamily="34" charset="0"/>
              </a:rPr>
              <a:t>Gather additional new or external data sources</a:t>
            </a:r>
          </a:p>
          <a:p>
            <a:pPr algn="r">
              <a:buClr>
                <a:schemeClr val="bg1"/>
              </a:buClr>
            </a:pPr>
            <a:endParaRPr lang="en-US" sz="1000" dirty="0" err="1">
              <a:solidFill>
                <a:schemeClr val="bg1"/>
              </a:solidFill>
            </a:endParaRPr>
          </a:p>
        </p:txBody>
      </p:sp>
      <p:sp>
        <p:nvSpPr>
          <p:cNvPr id="60" name="Right Arrow Callout 59"/>
          <p:cNvSpPr/>
          <p:nvPr/>
        </p:nvSpPr>
        <p:spPr>
          <a:xfrm>
            <a:off x="364538" y="2477028"/>
            <a:ext cx="6658054" cy="1321840"/>
          </a:xfrm>
          <a:prstGeom prst="rightArrowCallout">
            <a:avLst>
              <a:gd name="adj1" fmla="val 25000"/>
              <a:gd name="adj2" fmla="val 25000"/>
              <a:gd name="adj3" fmla="val 25000"/>
              <a:gd name="adj4" fmla="val 5922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114300" indent="-114300" fontAlgn="base">
              <a:spcBef>
                <a:spcPct val="0"/>
              </a:spcBef>
              <a:spcAft>
                <a:spcPts val="100"/>
              </a:spcAft>
              <a:buClr>
                <a:schemeClr val="bg1"/>
              </a:buClr>
              <a:buFont typeface="Arial" panose="020B0604020202020204" pitchFamily="34" charset="0"/>
              <a:buChar char="•"/>
            </a:pPr>
            <a:r>
              <a:rPr lang="en-US" sz="1000" dirty="0">
                <a:solidFill>
                  <a:schemeClr val="bg1"/>
                </a:solidFill>
                <a:cs typeface="Segoe UI Semibold" panose="020B0702040204020203" pitchFamily="34" charset="0"/>
              </a:rPr>
              <a:t>Data quality and transformation reviews</a:t>
            </a:r>
          </a:p>
          <a:p>
            <a:pPr marL="114300" indent="-114300" fontAlgn="base">
              <a:spcBef>
                <a:spcPct val="0"/>
              </a:spcBef>
              <a:spcAft>
                <a:spcPts val="100"/>
              </a:spcAft>
              <a:buClr>
                <a:schemeClr val="bg1"/>
              </a:buClr>
              <a:buFont typeface="Arial" panose="020B0604020202020204" pitchFamily="34" charset="0"/>
              <a:buChar char="•"/>
            </a:pPr>
            <a:r>
              <a:rPr lang="en-US" sz="1000" dirty="0">
                <a:solidFill>
                  <a:schemeClr val="bg1"/>
                </a:solidFill>
                <a:cs typeface="Segoe UI Semibold" panose="020B0702040204020203" pitchFamily="34" charset="0"/>
              </a:rPr>
              <a:t>Data cleaning and data validation</a:t>
            </a:r>
          </a:p>
          <a:p>
            <a:pPr marL="114300" indent="-114300" fontAlgn="base">
              <a:spcBef>
                <a:spcPct val="0"/>
              </a:spcBef>
              <a:spcAft>
                <a:spcPts val="100"/>
              </a:spcAft>
              <a:buClr>
                <a:schemeClr val="bg1"/>
              </a:buClr>
              <a:buFont typeface="Arial" panose="020B0604020202020204" pitchFamily="34" charset="0"/>
              <a:buChar char="•"/>
            </a:pPr>
            <a:r>
              <a:rPr lang="en-US" sz="1000" dirty="0">
                <a:solidFill>
                  <a:schemeClr val="bg1"/>
                </a:solidFill>
                <a:cs typeface="Segoe UI Semibold" panose="020B0702040204020203" pitchFamily="34" charset="0"/>
              </a:rPr>
              <a:t>Use small sample data sets to prove theorem</a:t>
            </a:r>
          </a:p>
        </p:txBody>
      </p:sp>
      <p:sp>
        <p:nvSpPr>
          <p:cNvPr id="61" name="Right Arrow Callout 60"/>
          <p:cNvSpPr/>
          <p:nvPr/>
        </p:nvSpPr>
        <p:spPr>
          <a:xfrm>
            <a:off x="364538" y="3895367"/>
            <a:ext cx="5533897" cy="1321840"/>
          </a:xfrm>
          <a:prstGeom prst="rightArrowCallout">
            <a:avLst>
              <a:gd name="adj1" fmla="val 25000"/>
              <a:gd name="adj2" fmla="val 25000"/>
              <a:gd name="adj3" fmla="val 25000"/>
              <a:gd name="adj4" fmla="val 7110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114300" indent="-114300" fontAlgn="base">
              <a:spcBef>
                <a:spcPct val="0"/>
              </a:spcBef>
              <a:spcAft>
                <a:spcPts val="100"/>
              </a:spcAft>
              <a:buClr>
                <a:schemeClr val="bg1"/>
              </a:buClr>
              <a:buFont typeface="Arial" panose="020B0604020202020204" pitchFamily="34" charset="0"/>
              <a:buChar char="•"/>
            </a:pPr>
            <a:r>
              <a:rPr lang="en-IN" sz="1000" dirty="0">
                <a:solidFill>
                  <a:schemeClr val="bg1"/>
                </a:solidFill>
                <a:cs typeface="Segoe UI Semibold" panose="020B0702040204020203" pitchFamily="34" charset="0"/>
              </a:rPr>
              <a:t>Develop BI Reporting/Dashboard capabilities</a:t>
            </a:r>
          </a:p>
          <a:p>
            <a:pPr marL="114300" indent="-114300" fontAlgn="base">
              <a:spcBef>
                <a:spcPct val="0"/>
              </a:spcBef>
              <a:spcAft>
                <a:spcPts val="100"/>
              </a:spcAft>
              <a:buClr>
                <a:schemeClr val="bg1"/>
              </a:buClr>
              <a:buFont typeface="Arial" panose="020B0604020202020204" pitchFamily="34" charset="0"/>
              <a:buChar char="•"/>
            </a:pPr>
            <a:r>
              <a:rPr lang="en-IN" sz="1000" dirty="0">
                <a:solidFill>
                  <a:schemeClr val="bg1"/>
                </a:solidFill>
                <a:cs typeface="Segoe UI Semibold" panose="020B0702040204020203" pitchFamily="34" charset="0"/>
              </a:rPr>
              <a:t>Develop Machine Learning/Predictive Analytics models</a:t>
            </a:r>
          </a:p>
          <a:p>
            <a:pPr marL="114300" indent="-114300" fontAlgn="base">
              <a:spcBef>
                <a:spcPct val="0"/>
              </a:spcBef>
              <a:spcAft>
                <a:spcPts val="100"/>
              </a:spcAft>
              <a:buClr>
                <a:schemeClr val="bg1"/>
              </a:buClr>
              <a:buFont typeface="Arial" panose="020B0604020202020204" pitchFamily="34" charset="0"/>
              <a:buChar char="•"/>
            </a:pPr>
            <a:r>
              <a:rPr lang="en-IN" sz="1000" dirty="0">
                <a:solidFill>
                  <a:schemeClr val="bg1"/>
                </a:solidFill>
                <a:cs typeface="Segoe UI Semibold" panose="020B0702040204020203" pitchFamily="34" charset="0"/>
              </a:rPr>
              <a:t>Present POC / prototype to business stakeholders for review and acceptance</a:t>
            </a:r>
          </a:p>
        </p:txBody>
      </p:sp>
      <p:sp>
        <p:nvSpPr>
          <p:cNvPr id="62" name="Right Arrow Callout 61"/>
          <p:cNvSpPr/>
          <p:nvPr/>
        </p:nvSpPr>
        <p:spPr>
          <a:xfrm>
            <a:off x="357280" y="5299050"/>
            <a:ext cx="4575339" cy="1321840"/>
          </a:xfrm>
          <a:prstGeom prst="rightArrowCallout">
            <a:avLst>
              <a:gd name="adj1" fmla="val 25000"/>
              <a:gd name="adj2" fmla="val 25000"/>
              <a:gd name="adj3" fmla="val 25000"/>
              <a:gd name="adj4" fmla="val 8603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114300" indent="-114300" fontAlgn="base">
              <a:spcBef>
                <a:spcPct val="0"/>
              </a:spcBef>
              <a:spcAft>
                <a:spcPts val="100"/>
              </a:spcAft>
              <a:buClr>
                <a:schemeClr val="bg1"/>
              </a:buClr>
              <a:buFont typeface="Arial" panose="020B0604020202020204" pitchFamily="34" charset="0"/>
              <a:buChar char="•"/>
            </a:pPr>
            <a:r>
              <a:rPr lang="en-IN" sz="1000" dirty="0" err="1">
                <a:solidFill>
                  <a:schemeClr val="bg1"/>
                </a:solidFill>
                <a:cs typeface="Segoe UI Semibold" panose="020B0702040204020203" pitchFamily="34" charset="0"/>
              </a:rPr>
              <a:t>HiPo</a:t>
            </a:r>
            <a:r>
              <a:rPr lang="en-IN" sz="1000" dirty="0">
                <a:solidFill>
                  <a:schemeClr val="bg1"/>
                </a:solidFill>
                <a:cs typeface="Segoe UI Semibold" panose="020B0702040204020203" pitchFamily="34" charset="0"/>
              </a:rPr>
              <a:t> Team provides POC assets, training and instructions for customer and partner</a:t>
            </a:r>
          </a:p>
          <a:p>
            <a:pPr marL="114300" indent="-114300" fontAlgn="base">
              <a:spcBef>
                <a:spcPct val="0"/>
              </a:spcBef>
              <a:spcAft>
                <a:spcPts val="100"/>
              </a:spcAft>
              <a:buClr>
                <a:schemeClr val="bg1"/>
              </a:buClr>
              <a:buFont typeface="Arial" panose="020B0604020202020204" pitchFamily="34" charset="0"/>
              <a:buChar char="•"/>
            </a:pPr>
            <a:r>
              <a:rPr lang="en-IN" sz="1000" dirty="0">
                <a:solidFill>
                  <a:schemeClr val="bg1"/>
                </a:solidFill>
                <a:cs typeface="Segoe UI Semibold" panose="020B0702040204020203" pitchFamily="34" charset="0"/>
              </a:rPr>
              <a:t>Partner implements solution with additional security and privacy requirements</a:t>
            </a:r>
          </a:p>
        </p:txBody>
      </p:sp>
      <p:graphicFrame>
        <p:nvGraphicFramePr>
          <p:cNvPr id="7" name="Diagram 6"/>
          <p:cNvGraphicFramePr/>
          <p:nvPr>
            <p:extLst>
              <p:ext uri="{D42A27DB-BD31-4B8C-83A1-F6EECF244321}">
                <p14:modId xmlns:p14="http://schemas.microsoft.com/office/powerpoint/2010/main" val="1216478072"/>
              </p:ext>
            </p:extLst>
          </p:nvPr>
        </p:nvGraphicFramePr>
        <p:xfrm>
          <a:off x="5082247" y="1089534"/>
          <a:ext cx="6980517"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70498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107078"/>
            <a:ext cx="9122229" cy="1094087"/>
          </a:xfrm>
        </p:spPr>
        <p:txBody>
          <a:bodyPr/>
          <a:lstStyle/>
          <a:p>
            <a:pPr algn="ctr"/>
            <a:r>
              <a:rPr lang="en-US" sz="3200" b="1" dirty="0"/>
              <a:t>Digital advertising company gets answers from terabytes of data using Azure</a:t>
            </a:r>
          </a:p>
        </p:txBody>
      </p:sp>
      <p:pic>
        <p:nvPicPr>
          <p:cNvPr id="4" name="Picture 3"/>
          <p:cNvPicPr>
            <a:picLocks noChangeAspect="1"/>
          </p:cNvPicPr>
          <p:nvPr/>
        </p:nvPicPr>
        <p:blipFill>
          <a:blip r:embed="rId2"/>
          <a:stretch>
            <a:fillRect/>
          </a:stretch>
        </p:blipFill>
        <p:spPr>
          <a:xfrm>
            <a:off x="8472941" y="5572125"/>
            <a:ext cx="3533775" cy="1285875"/>
          </a:xfrm>
          <a:prstGeom prst="rect">
            <a:avLst/>
          </a:prstGeom>
        </p:spPr>
      </p:pic>
      <p:pic>
        <p:nvPicPr>
          <p:cNvPr id="7" name="Picture 6"/>
          <p:cNvPicPr>
            <a:picLocks noChangeAspect="1"/>
          </p:cNvPicPr>
          <p:nvPr/>
        </p:nvPicPr>
        <p:blipFill>
          <a:blip r:embed="rId3"/>
          <a:stretch>
            <a:fillRect/>
          </a:stretch>
        </p:blipFill>
        <p:spPr>
          <a:xfrm>
            <a:off x="490589" y="2097314"/>
            <a:ext cx="1389641" cy="2837543"/>
          </a:xfrm>
          <a:prstGeom prst="rect">
            <a:avLst/>
          </a:prstGeom>
        </p:spPr>
      </p:pic>
      <p:sp>
        <p:nvSpPr>
          <p:cNvPr id="8" name="TextBox 7"/>
          <p:cNvSpPr txBox="1"/>
          <p:nvPr/>
        </p:nvSpPr>
        <p:spPr>
          <a:xfrm>
            <a:off x="2053771" y="1444171"/>
            <a:ext cx="9586686" cy="4201886"/>
          </a:xfrm>
          <a:prstGeom prst="rect">
            <a:avLst/>
          </a:prstGeom>
        </p:spPr>
        <p:txBody>
          <a:bodyPr vert="horz" wrap="square" lIns="91440" tIns="91440" rIns="91440" bIns="91440" rtlCol="0" anchor="t">
            <a:noAutofit/>
          </a:bodyPr>
          <a:lstStyle/>
          <a:p>
            <a:pPr marL="171450" indent="-171450">
              <a:buFont typeface="Wingdings" pitchFamily="2" charset="2"/>
              <a:buChar char="§"/>
            </a:pPr>
            <a:r>
              <a:rPr lang="en-US" sz="1400" dirty="0"/>
              <a:t>Increasing sales requires building an emotional connection with consumers. Finding innovative ways to establish customer connections is complicated. It’s no longer just about developing a compelling message and targeting a user.</a:t>
            </a:r>
          </a:p>
          <a:p>
            <a:endParaRPr lang="en-US" sz="1400" dirty="0"/>
          </a:p>
          <a:p>
            <a:pPr marL="171450" indent="-171450">
              <a:buFont typeface="Wingdings" pitchFamily="2" charset="2"/>
              <a:buChar char="§"/>
            </a:pPr>
            <a:r>
              <a:rPr lang="en-US" sz="1400" dirty="0"/>
              <a:t>“The Azure platform not only helps us gain fast insights, but it also enables us to hook up technologies like Azure Machine Learning so that we can create predictive models, change data in real time, and deliver the right ads to the right people.” - Christopher Beach, </a:t>
            </a:r>
            <a:r>
              <a:rPr lang="en-US" sz="1400" dirty="0" err="1"/>
              <a:t>MediaBrix</a:t>
            </a:r>
            <a:r>
              <a:rPr lang="en-US" sz="1400" dirty="0"/>
              <a:t> Sr VP of Engineering</a:t>
            </a:r>
          </a:p>
          <a:p>
            <a:endParaRPr lang="en-US" sz="1400" dirty="0"/>
          </a:p>
          <a:p>
            <a:pPr marL="171450" indent="-171450">
              <a:buFont typeface="Wingdings" pitchFamily="2" charset="2"/>
              <a:buChar char="§"/>
            </a:pPr>
            <a:r>
              <a:rPr lang="en-US" sz="1400" dirty="0"/>
              <a:t>Using Power BI … “Customers will be able to riff on any visualization that we give them,” says Beach. “And then the really awesome thing is that when we need to modify the content, I can make changes to it, and everyone automatically gets those updates.”</a:t>
            </a:r>
          </a:p>
          <a:p>
            <a:pPr marL="171450" indent="-171450">
              <a:buFont typeface="Wingdings" pitchFamily="2" charset="2"/>
              <a:buChar char="§"/>
            </a:pPr>
            <a:endParaRPr lang="en-US" sz="1400" dirty="0"/>
          </a:p>
          <a:p>
            <a:pPr marL="171450" indent="-171450">
              <a:buFont typeface="Wingdings" pitchFamily="2" charset="2"/>
              <a:buChar char="§"/>
            </a:pPr>
            <a:r>
              <a:rPr lang="en-US" sz="1400" dirty="0"/>
              <a:t>Innovative use of Cloud has propelled </a:t>
            </a:r>
            <a:r>
              <a:rPr lang="en-US" sz="1400" dirty="0" err="1"/>
              <a:t>MediaBrix</a:t>
            </a:r>
            <a:r>
              <a:rPr lang="en-US" sz="1400" dirty="0"/>
              <a:t> far ahead of the competition. “We can tell customers who’s actually consuming their advertising. For example, we might say that to target women aged 24 to 35 who have children, they’ll need to do so between 6 and 8 AM on the East Coast …” says Beach. “</a:t>
            </a:r>
            <a:r>
              <a:rPr lang="en-US" sz="1400" b="1" i="1" dirty="0"/>
              <a:t>It’s mind-blowing to tell them that, because they’re not getting that level of intelligence from anybody else.</a:t>
            </a:r>
            <a:r>
              <a:rPr lang="en-US" sz="1400" dirty="0"/>
              <a:t>”</a:t>
            </a:r>
          </a:p>
          <a:p>
            <a:pPr marL="171450" indent="-171450">
              <a:buFont typeface="Wingdings" pitchFamily="2" charset="2"/>
              <a:buChar char="§"/>
            </a:pPr>
            <a:endParaRPr lang="en-US" sz="1400"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410842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ksYXg56PECWVTeaCnq4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ksYXg56PECWVTeaCnq4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y05XOP6jEOadg3SoBz6yQ"/>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e Marketing Book of Dreams is set of scenarios for driving digital business transformation of marketing, including digital marketing and customer experience, marketing productivity, and marketing insights.</DocumentDescription>
    <_ip_UnifiedCompliancePolicyUIAction xmlns="http://schemas.microsoft.com/sharepoint/v3" xsi:nil="true"/>
    <SMEComments xmlns="2c369b2b-3f94-46ec-90e1-485ed2885eab" xsi:nil="true"/>
    <servicespriorityarea xmlns="230e9df3-be65-4c73-a93b-d1236ebd677e">
      <Value>Enterprise Strategy</Value>
    </servicespriorityarea>
    <g6775e77a6d84637a29014d883a4378a xmlns="230e9df3-be65-4c73-a93b-d1236ebd677e">
      <Terms xmlns="http://schemas.microsoft.com/office/infopath/2007/PartnerControls"/>
    </g6775e77a6d84637a29014d883a4378a>
    <campusactivity xmlns="230e9df3-be65-4c73-a93b-d1236ebd677e">
      <Value>Delivery</Value>
    </campusactivity>
    <MSProductsTaxHTField0 xmlns="230e9df3-be65-4c73-a93b-d1236ebd677e">
      <Terms xmlns="http://schemas.microsoft.com/office/infopath/2007/PartnerControls"/>
    </MSProductsTaxHTField0>
    <m74a2925250f485f9486ed3f97e2a6b3 xmlns="230e9df3-be65-4c73-a93b-d1236ebd677e">
      <Terms xmlns="http://schemas.microsoft.com/office/infopath/2007/PartnerControls">
        <TermInfo xmlns="http://schemas.microsoft.com/office/infopath/2007/PartnerControls">
          <TermName xmlns="http://schemas.microsoft.com/office/infopath/2007/PartnerControls">communications and media sector</TermName>
          <TermId xmlns="http://schemas.microsoft.com/office/infopath/2007/PartnerControls">9945cb60-29d5-4029-a25a-926881104e39</TermId>
        </TermInfo>
        <TermInfo xmlns="http://schemas.microsoft.com/office/infopath/2007/PartnerControls">
          <TermName xmlns="http://schemas.microsoft.com/office/infopath/2007/PartnerControls">financial services sector</TermName>
          <TermId xmlns="http://schemas.microsoft.com/office/infopath/2007/PartnerControls">b538d45a-5f3b-4c47-9c69-37273fafe895</TermId>
        </TermInfo>
        <TermInfo xmlns="http://schemas.microsoft.com/office/infopath/2007/PartnerControls">
          <TermName xmlns="http://schemas.microsoft.com/office/infopath/2007/PartnerControls">manufacturing and resources sector</TermName>
          <TermId xmlns="http://schemas.microsoft.com/office/infopath/2007/PartnerControls">868ab31c-08df-4f88-9150-9f7feacdc972</TermId>
        </TermInfo>
        <TermInfo xmlns="http://schemas.microsoft.com/office/infopath/2007/PartnerControls">
          <TermName xmlns="http://schemas.microsoft.com/office/infopath/2007/PartnerControls">retail, consumer products an</TermName>
          <TermId xmlns="http://schemas.microsoft.com/office/infopath/2007/PartnerControls">9ae6ef23-8d8a-476f-aa52-b499c395f362</TermId>
        </TermInfo>
      </Terms>
    </m74a2925250f485f9486ed3f97e2a6b3>
    <oad7af80ad0f4ba99bb03b3894ab533c xmlns="230e9df3-be65-4c73-a93b-d1236ebd677e">
      <Terms xmlns="http://schemas.microsoft.com/office/infopath/2007/PartnerControls">
        <TermInfo xmlns="http://schemas.microsoft.com/office/infopath/2007/PartnerControls">
          <TermName xmlns="http://schemas.microsoft.com/office/infopath/2007/PartnerControls">scenarios</TermName>
          <TermId xmlns="http://schemas.microsoft.com/office/infopath/2007/PartnerControls">5dc5e6e5-18a4-4ff8-85dc-71a9ecf4b47b</TermId>
        </TermInfo>
      </Terms>
    </oad7af80ad0f4ba99bb03b3894ab533c>
    <SMEReviewIndicator xmlns="2c369b2b-3f94-46ec-90e1-485ed2885eab" xsi:nil="true"/>
    <_ip_UnifiedCompliancePolicyProperties xmlns="http://schemas.microsoft.com/sharepoint/v3" xsi:nil="true"/>
    <Authors xmlns="230e9df3-be65-4c73-a93b-d1236ebd677e">
      <UserInfo>
        <DisplayName>i:0#.f|membership|andyeun@microsoft.com</DisplayName>
        <AccountId>4953</AccountId>
        <AccountType/>
      </UserInfo>
      <UserInfo>
        <DisplayName>i:0#.f|membership|v-damel@microsoft.com</DisplayName>
        <AccountId>23007</AccountId>
        <AccountType/>
      </UserInfo>
      <UserInfo>
        <DisplayName>i:0#.f|membership|jmeier@microsoft.com</DisplayName>
        <AccountId>4130</AccountId>
        <AccountType/>
      </UserInfo>
      <UserInfo>
        <DisplayName>i:0#.f|membership|jmarcoux@microsoft.com</DisplayName>
        <AccountId>7396</AccountId>
        <AccountType/>
      </UserInfo>
    </Authors>
    <FrameworkVersionNumber xmlns="230e9df3-be65-4c73-a93b-d1236ebd677e" xsi:nil="true"/>
    <OfferingID xmlns="8b5b7ad0-f464-46eb-9946-fcee1f1dc400"/>
    <cb7870d3641f4a52807a63577a9c1b08 xmlns="230e9df3-be65-4c73-a93b-d1236ebd677e">
      <Terms xmlns="http://schemas.microsoft.com/office/infopath/2007/PartnerControls"/>
    </cb7870d3641f4a52807a63577a9c1b08>
    <l6f22ad676764b8284b0a38937e29122 xmlns="2c369b2b-3f94-46ec-90e1-485ed2885eab">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l6f22ad676764b8284b0a38937e29122>
    <DerivedFromID xmlns="230e9df3-be65-4c73-a93b-d1236ebd677e" xsi:nil="true"/>
    <TaxCatchAll xmlns="230e9df3-be65-4c73-a93b-d1236ebd677e">
      <Value>86</Value>
      <Value>947</Value>
      <Value>673</Value>
      <Value>667</Value>
      <Value>479</Value>
      <Value>3</Value>
      <Value>358</Value>
    </TaxCatchAll>
    <campusov xmlns="230e9df3-be65-4c73-a93b-d1236ebd677e">
      <Value>MCS</Value>
    </campusov>
    <SMEReviewCount xmlns="2c369b2b-3f94-46ec-90e1-485ed2885eab" xsi:nil="true"/>
    <af1f5bfae61e4243aac9966cb19580e1 xmlns="230e9df3-be65-4c73-a93b-d1236ebd677e">
      <Terms xmlns="http://schemas.microsoft.com/office/infopath/2007/PartnerControls">
        <TermInfo xmlns="http://schemas.microsoft.com/office/infopath/2007/PartnerControls">
          <TermName xmlns="http://schemas.microsoft.com/office/infopath/2007/PartnerControls">WW Enterprise Strategy Community</TermName>
          <TermId xmlns="http://schemas.microsoft.com/office/infopath/2007/PartnerControls">abb82a59-d8e1-44bf-b680-43fada6eee29</TermId>
        </TermInfo>
      </Terms>
    </af1f5bfae61e4243aac9966cb19580e1>
    <_dlc_DocId xmlns="230e9df3-be65-4c73-a93b-d1236ebd677e">CAMPUSIP-6-2749</_dlc_DocId>
    <_dlc_DocIdUrl xmlns="230e9df3-be65-4c73-a93b-d1236ebd677e">
      <Url>https://microsoft.sharepoint.com/teams/CampusIPLibraries/ES/_layouts/15/DocIdRedir.aspx?ID=CAMPUSIP-6-2749</Url>
      <Description>CAMPUSIP-6-2749</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Campus Managed IP - ES" ma:contentTypeID="0x01010079CA57CA2DAD654DAB031774EE67465800621D8D8E19AE324586B0E2D5814AD32C02003ECED42F18ABEC4F85527B788A517F04" ma:contentTypeVersion="63" ma:contentTypeDescription="This content type is used to define the metadata and behavior of Managed IP managed in the Enterprise Strategy group." ma:contentTypeScope="" ma:versionID="1abf41f1562bfd90736e65fec44135e0">
  <xsd:schema xmlns:xsd="http://www.w3.org/2001/XMLSchema" xmlns:xs="http://www.w3.org/2001/XMLSchema" xmlns:p="http://schemas.microsoft.com/office/2006/metadata/properties" xmlns:ns1="http://schemas.microsoft.com/sharepoint/v3" xmlns:ns2="230e9df3-be65-4c73-a93b-d1236ebd677e" xmlns:ns3="2c369b2b-3f94-46ec-90e1-485ed2885eab" xmlns:ns4="8b5b7ad0-f464-46eb-9946-fcee1f1dc400" targetNamespace="http://schemas.microsoft.com/office/2006/metadata/properties" ma:root="true" ma:fieldsID="48c0c43220e40f1de7a19802bb403415" ns1:_="" ns2:_="" ns3:_="" ns4:_="">
    <xsd:import namespace="http://schemas.microsoft.com/sharepoint/v3"/>
    <xsd:import namespace="230e9df3-be65-4c73-a93b-d1236ebd677e"/>
    <xsd:import namespace="2c369b2b-3f94-46ec-90e1-485ed2885eab"/>
    <xsd:import namespace="8b5b7ad0-f464-46eb-9946-fcee1f1dc400"/>
    <xsd:element name="properties">
      <xsd:complexType>
        <xsd:sequence>
          <xsd:element name="documentManagement">
            <xsd:complexType>
              <xsd:all>
                <xsd:element ref="ns2:DocumentDescription"/>
                <xsd:element ref="ns2:Authors"/>
                <xsd:element ref="ns2:servicespriorityarea" minOccurs="0"/>
                <xsd:element ref="ns2:campusov" minOccurs="0"/>
                <xsd:element ref="ns2:campusactivity" minOccurs="0"/>
                <xsd:element ref="ns3:SMEComments" minOccurs="0"/>
                <xsd:element ref="ns3:SMEReviewCount" minOccurs="0"/>
                <xsd:element ref="ns3:SMEReviewIndicator" minOccurs="0"/>
                <xsd:element ref="ns2:FrameworkVersionNumber" minOccurs="0"/>
                <xsd:element ref="ns4:OfferingID" minOccurs="0"/>
                <xsd:element ref="ns2:DerivedFromID" minOccurs="0"/>
                <xsd:element ref="ns2:_dlc_DocIdUrl" minOccurs="0"/>
                <xsd:element ref="ns2:_dlc_DocIdPersistId" minOccurs="0"/>
                <xsd:element ref="ns2:_dlc_DocId" minOccurs="0"/>
                <xsd:element ref="ns2:cb7870d3641f4a52807a63577a9c1b08" minOccurs="0"/>
                <xsd:element ref="ns2:af1f5bfae61e4243aac9966cb19580e1" minOccurs="0"/>
                <xsd:element ref="ns2:TaxCatchAll" minOccurs="0"/>
                <xsd:element ref="ns2:TaxCatchAllLabel" minOccurs="0"/>
                <xsd:element ref="ns2:MSProductsTaxHTField0" minOccurs="0"/>
                <xsd:element ref="ns3:l6f22ad676764b8284b0a38937e29122" minOccurs="0"/>
                <xsd:element ref="ns4:OfferingID_x003a_Title_x0020__x0028_linked_x0020_to_x0020_item_x0029_" minOccurs="0"/>
                <xsd:element ref="ns2:m74a2925250f485f9486ed3f97e2a6b3" minOccurs="0"/>
                <xsd:element ref="ns4:SharedWithDetails" minOccurs="0"/>
                <xsd:element ref="ns2:g6775e77a6d84637a29014d883a4378a" minOccurs="0"/>
                <xsd:element ref="ns2:oad7af80ad0f4ba99bb03b3894ab533c"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40" nillable="true" ma:displayName="Unified Compliance Policy Properties" ma:hidden="true" ma:internalName="_ip_UnifiedCompliancePolicyProperties">
      <xsd:simpleType>
        <xsd:restriction base="dms:Note"/>
      </xsd:simpleType>
    </xsd:element>
    <xsd:element name="_ip_UnifiedCompliancePolicyUIAction" ma:index="4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xsd:simpleType>
        <xsd:restriction base="dms:Note">
          <xsd:maxLength value="255"/>
        </xsd:restriction>
      </xsd:simpleType>
    </xsd:element>
    <xsd:element name="Authors" ma:index="3" ma:displayName="Authors" ma:description="The individuals who contributed to the creation of this content. Includes both primary and secondary authors." ma:list="UserInfo" ma:SharePointGroup="0" ma:internalName="Authors"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servicespriorityarea" ma:index="7" nillable="true" ma:displayName="Services Priority Area" ma:description="Identifies the associated Services business priority area. Used by Campus." ma:internalName="servicespriorityarea" ma:readOnly="false">
      <xsd:complexType>
        <xsd:complexContent>
          <xsd:extension base="dms:MultiChoice">
            <xsd:sequence>
              <xsd:element name="Value" maxOccurs="unbounded" minOccurs="0" nillable="true">
                <xsd:simpleType>
                  <xsd:restriction base="dms:Choice">
                    <xsd:enumeration value="Application Platform"/>
                    <xsd:enumeration value="Cloud Productivity"/>
                    <xsd:enumeration value="Datacenter"/>
                    <xsd:enumeration value="Devices and Mobility"/>
                    <xsd:enumeration value="Dynamics"/>
                    <xsd:enumeration value="Enterprise Communications"/>
                    <xsd:enumeration value="Enterprise Strategy"/>
                    <xsd:enumeration value="Premier Cloud Vantage"/>
                    <xsd:enumeration value="Premier Lync"/>
                    <xsd:enumeration value="Premier Mission Critical"/>
                    <xsd:enumeration value="Premier vNext"/>
                    <xsd:enumeration value="Productivity and Enterprise Social"/>
                    <xsd:enumeration value="PSfD"/>
                    <xsd:enumeration value="PSfP"/>
                    <xsd:enumeration value="Security"/>
                  </xsd:restriction>
                </xsd:simpleType>
              </xsd:element>
            </xsd:sequence>
          </xsd:extension>
        </xsd:complexContent>
      </xsd:complexType>
    </xsd:element>
    <xsd:element name="campusov" ma:index="8" nillable="true" ma:displayName="Org (Campus Only)" ma:description="Used exclusively by the Campus KM solution. The organization, community, or program that is responsible for the life of the IP." ma:internalName="campusov">
      <xsd:complexType>
        <xsd:complexContent>
          <xsd:extension base="dms:MultiChoice">
            <xsd:sequence>
              <xsd:element name="Value" maxOccurs="unbounded" minOccurs="0" nillable="true">
                <xsd:simpleType>
                  <xsd:restriction base="dms:Choice">
                    <xsd:enumeration value="Consumer"/>
                    <xsd:enumeration value="CSS"/>
                    <xsd:enumeration value="Enterprise Services Sales"/>
                    <xsd:enumeration value="GBS - Strategy"/>
                    <xsd:enumeration value="GBSD - Commercial Shared"/>
                    <xsd:enumeration value="GBSD - Dynamics/SMS&amp;P"/>
                    <xsd:enumeration value="GBSD - MOD"/>
                    <xsd:enumeration value="GBSD - PFE"/>
                    <xsd:enumeration value="GBSD - STB"/>
                    <xsd:enumeration value="MCS"/>
                    <xsd:enumeration value="Not Organization Specific"/>
                    <xsd:enumeration value="OCTO"/>
                    <xsd:enumeration value="Premier"/>
                  </xsd:restriction>
                </xsd:simpleType>
              </xsd:element>
            </xsd:sequence>
          </xsd:extension>
        </xsd:complexContent>
      </xsd:complexType>
    </xsd:element>
    <xsd:element name="campusactivity" ma:index="9" nillable="true" ma:displayName="Campus Function" ma:description="Used exclusively by the Campus KM solution for tagging content with the Services function to which the document is applicable." ma:internalName="campusactivity">
      <xsd:complexType>
        <xsd:complexContent>
          <xsd:extension base="dms:MultiChoice">
            <xsd:sequence>
              <xsd:element name="Value" maxOccurs="unbounded" minOccurs="0" nillable="true">
                <xsd:simpleType>
                  <xsd:restriction base="dms:Choice">
                    <xsd:enumeration value="Sales"/>
                    <xsd:enumeration value="Marketing"/>
                    <xsd:enumeration value="Delivery"/>
                    <xsd:enumeration value="Support"/>
                  </xsd:restriction>
                </xsd:simpleType>
              </xsd:element>
            </xsd:sequence>
          </xsd:extension>
        </xsd:complexContent>
      </xsd:complexType>
    </xsd:element>
    <xsd:element name="FrameworkVersionNumber" ma:index="17" nillable="true" ma:displayName="Framework Version Number" ma:description="A field used by Campus KM management solution." ma:internalName="FrameworkVersionNumber" ma:percentage="FALSE">
      <xsd:simpleType>
        <xsd:restriction base="dms:Number"/>
      </xsd:simpleType>
    </xsd:element>
    <xsd:element name="DerivedFromID" ma:index="19" nillable="true" ma:displayName="Derived from ID" ma:default="Original" ma:description="Holds the Document Id if the document is derived from an existing document in Campus." ma:internalName="DerivedFromID">
      <xsd:simpleType>
        <xsd:restriction base="dms:Text">
          <xsd:maxLength value="255"/>
        </xsd:restriction>
      </xsd:simpleType>
    </xsd:element>
    <xsd:element name="_dlc_DocIdUrl" ma:index="2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2" nillable="true" ma:displayName="Persist ID" ma:description="Keep ID on add." ma:hidden="true" ma:internalName="_dlc_DocIdPersistId" ma:readOnly="true">
      <xsd:simpleType>
        <xsd:restriction base="dms:Boolean"/>
      </xsd:simpleType>
    </xsd:element>
    <xsd:element name="_dlc_DocId" ma:index="23" nillable="true" ma:displayName="Document ID Value" ma:description="The value of the document ID assigned to this item." ma:internalName="_dlc_DocId" ma:readOnly="true">
      <xsd:simpleType>
        <xsd:restriction base="dms:Text"/>
      </xsd:simpleType>
    </xsd:element>
    <xsd:element name="cb7870d3641f4a52807a63577a9c1b08" ma:index="25" nillable="true" ma:taxonomy="true" ma:internalName="cb7870d3641f4a52807a63577a9c1b08" ma:taxonomyFieldName="SalesGeography" ma:displayName="MS Sales Geography" ma:default="" ma:fieldId="{cb7870d3-641f-4a52-807a-63577a9c1b08}" ma:taxonomyMulti="true" ma:sspId="e385fb40-52d4-4fae-9c5b-3e8ff8a5878e" ma:termSetId="a5a76945-853a-477c-879c-38ff3cefc704" ma:anchorId="00000000-0000-0000-0000-000000000000" ma:open="false" ma:isKeyword="false">
      <xsd:complexType>
        <xsd:sequence>
          <xsd:element ref="pc:Terms" minOccurs="0" maxOccurs="1"/>
        </xsd:sequence>
      </xsd:complexType>
    </xsd:element>
    <xsd:element name="af1f5bfae61e4243aac9966cb19580e1" ma:index="26" nillable="true" ma:taxonomy="true" ma:internalName="af1f5bfae61e4243aac9966cb19580e1" ma:taxonomyFieldName="ServicesCommunities" ma:displayName="WW Communities" ma:default="" ma:fieldId="{af1f5bfa-e61e-4243-aac9-966cb19580e1}" ma:taxonomyMulti="true" ma:sspId="e385fb40-52d4-4fae-9c5b-3e8ff8a5878e" ma:termSetId="e914471b-f3a2-4e29-8ef9-272939996e4a" ma:anchorId="00000000-0000-0000-0000-000000000000" ma:open="false" ma:isKeyword="false">
      <xsd:complexType>
        <xsd:sequence>
          <xsd:element ref="pc:Terms" minOccurs="0" maxOccurs="1"/>
        </xsd:sequence>
      </xsd:complexType>
    </xsd:element>
    <xsd:element name="TaxCatchAll" ma:index="27" nillable="true" ma:displayName="Taxonomy Catch All Column" ma:hidden="true" ma:list="{b5574508-8eb6-42b3-91d6-479e30ab603a}" ma:internalName="TaxCatchAll" ma:showField="CatchAllData"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TaxCatchAllLabel" ma:index="28" nillable="true" ma:displayName="Taxonomy Catch All Column1" ma:hidden="true" ma:list="{b5574508-8eb6-42b3-91d6-479e30ab603a}" ma:internalName="TaxCatchAllLabel" ma:readOnly="true" ma:showField="CatchAllDataLabel"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MSProductsTaxHTField0" ma:index="30" nillable="true" ma:taxonomy="true" ma:internalName="MSProductsTaxHTField0" ma:taxonomyFieldName="MSProducts" ma:displayName="MS Products" ma:readOnly="false" ma:default="" ma:fieldId="{ee77c2ea-e1b9-4a90-85df-76a95e6ae936}"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m74a2925250f485f9486ed3f97e2a6b3" ma:index="36" nillable="true" ma:taxonomy="true" ma:internalName="m74a2925250f485f9486ed3f97e2a6b3" ma:taxonomyFieldName="VerticalIndustries" ma:displayName="Vertical Industries" ma:readOnly="false" ma:default="" ma:fieldId="{674a2925-250f-485f-9486-ed3f97e2a6b3}" ma:taxonomyMulti="true" ma:sspId="e385fb40-52d4-4fae-9c5b-3e8ff8a5878e" ma:termSetId="91b0d1e0-9f22-4aab-a1ef-fa1358a21588" ma:anchorId="00000000-0000-0000-0000-000000000000" ma:open="false" ma:isKeyword="false">
      <xsd:complexType>
        <xsd:sequence>
          <xsd:element ref="pc:Terms" minOccurs="0" maxOccurs="1"/>
        </xsd:sequence>
      </xsd:complexType>
    </xsd:element>
    <xsd:element name="g6775e77a6d84637a29014d883a4378a" ma:index="38" nillable="true" ma:taxonomy="true" ma:internalName="g6775e77a6d84637a29014d883a4378a" ma:taxonomyFieldName="ServicesDomain" ma:displayName="Services Domain" ma:default="" ma:fieldId="{06775e77-a6d8-4637-a290-14d883a4378a}" ma:taxonomyMulti="true" ma:sspId="e385fb40-52d4-4fae-9c5b-3e8ff8a5878e" ma:termSetId="c1ac51a9-d111-4ee5-a69f-6022ed76fff0" ma:anchorId="00000000-0000-0000-0000-000000000000" ma:open="false" ma:isKeyword="false">
      <xsd:complexType>
        <xsd:sequence>
          <xsd:element ref="pc:Terms" minOccurs="0" maxOccurs="1"/>
        </xsd:sequence>
      </xsd:complexType>
    </xsd:element>
    <xsd:element name="oad7af80ad0f4ba99bb03b3894ab533c" ma:index="39" nillable="true" ma:taxonomy="true" ma:internalName="oad7af80ad0f4ba99bb03b3894ab533c" ma:taxonomyFieldName="ServicesIPTypes" ma:displayName="Services IP Type" ma:readOnly="fals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c369b2b-3f94-46ec-90e1-485ed2885eab" elementFormDefault="qualified">
    <xsd:import namespace="http://schemas.microsoft.com/office/2006/documentManagement/types"/>
    <xsd:import namespace="http://schemas.microsoft.com/office/infopath/2007/PartnerControls"/>
    <xsd:element name="SMEComments" ma:index="14" nillable="true" ma:displayName="SME Comments" ma:internalName="SMEComments" ma:readOnly="false">
      <xsd:simpleType>
        <xsd:restriction base="dms:Note">
          <xsd:maxLength value="255"/>
        </xsd:restriction>
      </xsd:simpleType>
    </xsd:element>
    <xsd:element name="SMEReviewCount" ma:index="15" nillable="true" ma:displayName="SME Review Count" ma:internalName="SMEReviewCount" ma:readOnly="false">
      <xsd:simpleType>
        <xsd:restriction base="dms:Number"/>
      </xsd:simpleType>
    </xsd:element>
    <xsd:element name="SMEReviewIndicator" ma:index="16" nillable="true" ma:displayName="SME Review Indicator" ma:internalName="SMEReviewIndicator" ma:readOnly="false">
      <xsd:simpleType>
        <xsd:restriction base="dms:Number"/>
      </xsd:simpleType>
    </xsd:element>
    <xsd:element name="l6f22ad676764b8284b0a38937e29122" ma:index="31" ma:taxonomy="true" ma:internalName="l6f22ad676764b8284b0a38937e29122" ma:taxonomyFieldName="MS_x0020_Language" ma:displayName="Language" ma:readOnly="false" ma:default="" ma:fieldId="{56f22ad6-7676-4b82-84b0-a38937e29122}" ma:taxonomyMulti="true" ma:sspId="e385fb40-52d4-4fae-9c5b-3e8ff8a5878e" ma:termSetId="2851bb56-f3b7-4d07-b1ba-07ede7d3b14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b7ad0-f464-46eb-9946-fcee1f1dc400" elementFormDefault="qualified">
    <xsd:import namespace="http://schemas.microsoft.com/office/2006/documentManagement/types"/>
    <xsd:import namespace="http://schemas.microsoft.com/office/infopath/2007/PartnerControls"/>
    <xsd:element name="OfferingID" ma:index="18" nillable="true" ma:displayName="OfferingID" ma:list="{93b282fd-206f-40aa-ad9a-b5a72de7b449}" ma:internalName="OfferingID0" ma:showField="OID" ma:web="8b5b7ad0-f464-46eb-9946-fcee1f1dc400">
      <xsd:complexType>
        <xsd:complexContent>
          <xsd:extension base="dms:MultiChoiceLookup">
            <xsd:sequence>
              <xsd:element name="Value" type="dms:Lookup" maxOccurs="unbounded" minOccurs="0" nillable="true"/>
            </xsd:sequence>
          </xsd:extension>
        </xsd:complexContent>
      </xsd:complexType>
    </xsd:element>
    <xsd:element name="OfferingID_x003a_Title_x0020__x0028_linked_x0020_to_x0020_item_x0029_" ma:index="35" nillable="true" ma:displayName="OfferingID:Title (linked to item)" ma:list="{93b282fd-206f-40aa-ad9a-b5a72de7b449}" ma:internalName="OfferingID_x003A_Title_x0020__x0028_linked_x0020_to_x0020_item_x0029_" ma:readOnly="true" ma:showField="LinkTitleNoMenu" ma:web="8b5b7ad0-f464-46eb-9946-fcee1f1dc400">
      <xsd:complexType>
        <xsd:complexContent>
          <xsd:extension base="dms:MultiChoiceLookup">
            <xsd:sequence>
              <xsd:element name="Value" type="dms:Lookup" maxOccurs="unbounded" minOccurs="0" nillable="true"/>
            </xsd:sequence>
          </xsd:extension>
        </xsd:complexContent>
      </xsd:complexType>
    </xsd:element>
    <xsd:element name="SharedWithDetails" ma:index="3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0DE4472-5A42-453F-B41F-5EA68F509F59}">
  <ds:schemaRefs>
    <ds:schemaRef ds:uri="2c369b2b-3f94-46ec-90e1-485ed2885eab"/>
    <ds:schemaRef ds:uri="http://purl.org/dc/elements/1.1/"/>
    <ds:schemaRef ds:uri="http://schemas.microsoft.com/office/2006/metadata/properties"/>
    <ds:schemaRef ds:uri="http://schemas.microsoft.com/sharepoint/v3"/>
    <ds:schemaRef ds:uri="230e9df3-be65-4c73-a93b-d1236ebd677e"/>
    <ds:schemaRef ds:uri="http://purl.org/dc/terms/"/>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8b5b7ad0-f464-46eb-9946-fcee1f1dc400"/>
    <ds:schemaRef ds:uri="http://www.w3.org/XML/1998/namespace"/>
  </ds:schemaRefs>
</ds:datastoreItem>
</file>

<file path=customXml/itemProps2.xml><?xml version="1.0" encoding="utf-8"?>
<ds:datastoreItem xmlns:ds="http://schemas.openxmlformats.org/officeDocument/2006/customXml" ds:itemID="{5D520C76-AF7B-4217-A173-5A10D460F5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c369b2b-3f94-46ec-90e1-485ed2885eab"/>
    <ds:schemaRef ds:uri="8b5b7ad0-f464-46eb-9946-fcee1f1dc4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F93885A-3CB6-49D5-9139-DBE3E1687A90}">
  <ds:schemaRefs>
    <ds:schemaRef ds:uri="http://schemas.microsoft.com/sharepoint/events"/>
  </ds:schemaRefs>
</ds:datastoreItem>
</file>

<file path=customXml/itemProps4.xml><?xml version="1.0" encoding="utf-8"?>
<ds:datastoreItem xmlns:ds="http://schemas.openxmlformats.org/officeDocument/2006/customXml" ds:itemID="{44FDA79B-BA4A-4FC5-B4BB-477B2B4DF2B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6427</TotalTime>
  <Words>1397</Words>
  <Application>Microsoft Office PowerPoint</Application>
  <PresentationFormat>Widescreen</PresentationFormat>
  <Paragraphs>148</Paragraphs>
  <Slides>11</Slides>
  <Notes>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2" baseType="lpstr">
      <vt:lpstr>ＭＳ Ｐゴシック</vt:lpstr>
      <vt:lpstr>Arial</vt:lpstr>
      <vt:lpstr>Calibri</vt:lpstr>
      <vt:lpstr>Courier New</vt:lpstr>
      <vt:lpstr>Roboto Light</vt:lpstr>
      <vt:lpstr>Segoe UI</vt:lpstr>
      <vt:lpstr>Segoe UI Light</vt:lpstr>
      <vt:lpstr>Segoe UI Semibold</vt:lpstr>
      <vt:lpstr>Wingdings</vt:lpstr>
      <vt:lpstr>FY15 Enterprise identity theme</vt:lpstr>
      <vt:lpstr>think-cell Slide</vt:lpstr>
      <vt:lpstr>PowerPoint Presentation</vt:lpstr>
      <vt:lpstr>Customer Analytics Azure Solution Blueprint</vt:lpstr>
      <vt:lpstr>360 Degree View of the Customer</vt:lpstr>
      <vt:lpstr>Microsoft Azure HiPo Team of Cloud Solution Experts</vt:lpstr>
      <vt:lpstr>Microsoft Azure HiPo Team Pre-Archictected Solutions</vt:lpstr>
      <vt:lpstr>Business Transformation through Customer Analytics</vt:lpstr>
      <vt:lpstr>Value Realization Scorecard</vt:lpstr>
      <vt:lpstr>Azure HiPo Team Business Solution Process</vt:lpstr>
      <vt:lpstr>Digital advertising company gets answers from terabytes of data using Azure</vt:lpstr>
      <vt:lpstr>What game will you want to go with that burger? Ziosk may already know.</vt:lpstr>
      <vt:lpstr>Real Madrid C.F.</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Book of Dreams v1</dc:title>
  <dc:creator>v-damel@microsoft.com</dc:creator>
  <cp:lastModifiedBy>Mark Kromer</cp:lastModifiedBy>
  <cp:revision>1011</cp:revision>
  <dcterms:created xsi:type="dcterms:W3CDTF">2014-12-01T09:49:47Z</dcterms:created>
  <dcterms:modified xsi:type="dcterms:W3CDTF">2017-01-26T08:1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CA57CA2DAD654DAB031774EE67465800621D8D8E19AE324586B0E2D5814AD32C02003ECED42F18ABEC4F85527B788A517F04</vt:lpwstr>
  </property>
  <property fmtid="{D5CDD505-2E9C-101B-9397-08002B2CF9AE}" pid="3" name="bc28b5f076654a3b96073bbbebfeb8c9">
    <vt:lpwstr>English|cb91f272-ce4d-4a7e-9bbf-78b58e3d188d</vt:lpwstr>
  </property>
  <property fmtid="{D5CDD505-2E9C-101B-9397-08002B2CF9AE}" pid="4" name="TaxCatchAll">
    <vt:lpwstr>3;#English</vt:lpwstr>
  </property>
  <property fmtid="{D5CDD505-2E9C-101B-9397-08002B2CF9AE}" pid="5" name="_dlc_DocIdItemGuid">
    <vt:lpwstr>9c0b867f-7520-4d1f-83fb-ea2641597f19</vt:lpwstr>
  </property>
  <property fmtid="{D5CDD505-2E9C-101B-9397-08002B2CF9AE}" pid="6" name="ie6d2fd56e2d423f9ae5744f65e04598">
    <vt:lpwstr/>
  </property>
  <property fmtid="{D5CDD505-2E9C-101B-9397-08002B2CF9AE}" pid="7" name="ServicesDomain">
    <vt:lpwstr/>
  </property>
  <property fmtid="{D5CDD505-2E9C-101B-9397-08002B2CF9AE}" pid="8" name="VerticalIndustries">
    <vt:lpwstr>358;#communications and media sector|9945cb60-29d5-4029-a25a-926881104e39;#667;#financial services sector|b538d45a-5f3b-4c47-9c69-37273fafe895;#673;#manufacturing and resources sector|868ab31c-08df-4f88-9150-9f7feacdc972;#947;#retail, consumer products an</vt:lpwstr>
  </property>
  <property fmtid="{D5CDD505-2E9C-101B-9397-08002B2CF9AE}" pid="9" name="pd049fc9a23847ae8834a0b282b603a1">
    <vt:lpwstr/>
  </property>
  <property fmtid="{D5CDD505-2E9C-101B-9397-08002B2CF9AE}" pid="10" name="RatedBy">
    <vt:lpwstr/>
  </property>
  <property fmtid="{D5CDD505-2E9C-101B-9397-08002B2CF9AE}" pid="11" name="SalesGeography">
    <vt:lpwstr/>
  </property>
  <property fmtid="{D5CDD505-2E9C-101B-9397-08002B2CF9AE}" pid="12" name="l56d15105ae648fdac87f06e9633001e">
    <vt:lpwstr/>
  </property>
  <property fmtid="{D5CDD505-2E9C-101B-9397-08002B2CF9AE}" pid="13" name="MS Language">
    <vt:lpwstr>3;#English|cb91f272-ce4d-4a7e-9bbf-78b58e3d188d</vt:lpwstr>
  </property>
  <property fmtid="{D5CDD505-2E9C-101B-9397-08002B2CF9AE}" pid="14" name="MSProducts">
    <vt:lpwstr/>
  </property>
  <property fmtid="{D5CDD505-2E9C-101B-9397-08002B2CF9AE}" pid="15" name="Content Owner">
    <vt:lpwstr>, </vt:lpwstr>
  </property>
  <property fmtid="{D5CDD505-2E9C-101B-9397-08002B2CF9AE}" pid="16" name="EnterpriseServices">
    <vt:lpwstr/>
  </property>
  <property fmtid="{D5CDD505-2E9C-101B-9397-08002B2CF9AE}" pid="17" name="Ratings">
    <vt:lpwstr/>
  </property>
  <property fmtid="{D5CDD505-2E9C-101B-9397-08002B2CF9AE}" pid="18" name="ServicesIPTypes">
    <vt:lpwstr>86;#scenarios|5dc5e6e5-18a4-4ff8-85dc-71a9ecf4b47b</vt:lpwstr>
  </property>
  <property fmtid="{D5CDD505-2E9C-101B-9397-08002B2CF9AE}" pid="19" name="Services Marketing Audience">
    <vt:lpwstr/>
  </property>
  <property fmtid="{D5CDD505-2E9C-101B-9397-08002B2CF9AE}" pid="20" name="LikedBy">
    <vt:lpwstr/>
  </property>
  <property fmtid="{D5CDD505-2E9C-101B-9397-08002B2CF9AE}" pid="21" name="ServicesLifecycleStage">
    <vt:lpwstr/>
  </property>
  <property fmtid="{D5CDD505-2E9C-101B-9397-08002B2CF9AE}" pid="22" name="ServicesCommunities">
    <vt:lpwstr>479;#WW Enterprise Strategy Community|abb82a59-d8e1-44bf-b680-43fada6eee29</vt:lpwstr>
  </property>
  <property fmtid="{D5CDD505-2E9C-101B-9397-08002B2CF9AE}" pid="23" name="MSLanguage">
    <vt:lpwstr>3;#English|cb91f272-ce4d-4a7e-9bbf-78b58e3d188d</vt:lpwstr>
  </property>
  <property fmtid="{D5CDD505-2E9C-101B-9397-08002B2CF9AE}" pid="24" name="Services Megatrends">
    <vt:lpwstr/>
  </property>
  <property fmtid="{D5CDD505-2E9C-101B-9397-08002B2CF9AE}" pid="25" name="SharedWithUsers">
    <vt:lpwstr>34690;#Elad shwarchberg;#74954;#Shira Levy-Barkan</vt:lpwstr>
  </property>
  <property fmtid="{D5CDD505-2E9C-101B-9397-08002B2CF9AE}" pid="26" name="campustrv">
    <vt:lpwstr>;#Sales Excellence;#Solution Sales;#Architecture Delivery;#</vt:lpwstr>
  </property>
</Properties>
</file>